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sldIdLst>
    <p:sldId id="256" r:id="rId2"/>
    <p:sldId id="290" r:id="rId3"/>
    <p:sldId id="264" r:id="rId4"/>
    <p:sldId id="258" r:id="rId5"/>
    <p:sldId id="259" r:id="rId6"/>
    <p:sldId id="260" r:id="rId7"/>
    <p:sldId id="286" r:id="rId8"/>
    <p:sldId id="262" r:id="rId9"/>
    <p:sldId id="261" r:id="rId10"/>
    <p:sldId id="263" r:id="rId11"/>
    <p:sldId id="265" r:id="rId12"/>
    <p:sldId id="267" r:id="rId13"/>
    <p:sldId id="266" r:id="rId14"/>
    <p:sldId id="287" r:id="rId15"/>
    <p:sldId id="268" r:id="rId16"/>
    <p:sldId id="269" r:id="rId17"/>
    <p:sldId id="270" r:id="rId18"/>
    <p:sldId id="271" r:id="rId19"/>
    <p:sldId id="272" r:id="rId20"/>
    <p:sldId id="273" r:id="rId21"/>
    <p:sldId id="274" r:id="rId22"/>
    <p:sldId id="275" r:id="rId23"/>
    <p:sldId id="276" r:id="rId24"/>
    <p:sldId id="277" r:id="rId25"/>
    <p:sldId id="288" r:id="rId26"/>
    <p:sldId id="289" r:id="rId27"/>
    <p:sldId id="278" r:id="rId28"/>
    <p:sldId id="279" r:id="rId29"/>
    <p:sldId id="280" r:id="rId30"/>
    <p:sldId id="281" r:id="rId31"/>
    <p:sldId id="282" r:id="rId32"/>
    <p:sldId id="283" r:id="rId33"/>
    <p:sldId id="284" r:id="rId34"/>
    <p:sldId id="285" r:id="rId35"/>
  </p:sldIdLst>
  <p:sldSz cx="12192000" cy="6858000"/>
  <p:notesSz cx="6858000" cy="9144000"/>
  <p:custDataLst>
    <p:tags r:id="rId3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F37FAE0-DC1F-4059-BCA6-53B7C6E2332B}">
          <p14:sldIdLst>
            <p14:sldId id="256"/>
            <p14:sldId id="290"/>
          </p14:sldIdLst>
        </p14:section>
        <p14:section name="Primary skin lesions" id="{6E417698-A7C4-4A6E-A5F8-F36BF4A95916}">
          <p14:sldIdLst>
            <p14:sldId id="264"/>
            <p14:sldId id="258"/>
            <p14:sldId id="259"/>
            <p14:sldId id="260"/>
            <p14:sldId id="286"/>
            <p14:sldId id="262"/>
            <p14:sldId id="261"/>
            <p14:sldId id="263"/>
            <p14:sldId id="265"/>
            <p14:sldId id="267"/>
            <p14:sldId id="266"/>
            <p14:sldId id="287"/>
          </p14:sldIdLst>
        </p14:section>
        <p14:section name="Secondary skin lesions" id="{103AF0C9-B7BD-41D8-8972-15456662DB49}">
          <p14:sldIdLst>
            <p14:sldId id="268"/>
            <p14:sldId id="269"/>
            <p14:sldId id="270"/>
            <p14:sldId id="271"/>
            <p14:sldId id="272"/>
            <p14:sldId id="273"/>
            <p14:sldId id="274"/>
            <p14:sldId id="275"/>
            <p14:sldId id="276"/>
            <p14:sldId id="277"/>
            <p14:sldId id="288"/>
            <p14:sldId id="289"/>
          </p14:sldIdLst>
        </p14:section>
        <p14:section name="Complex skin lesions" id="{A1A61CB3-9C4A-471C-A38C-42E051F18DD0}">
          <p14:sldIdLst>
            <p14:sldId id="278"/>
            <p14:sldId id="279"/>
            <p14:sldId id="280"/>
            <p14:sldId id="281"/>
            <p14:sldId id="282"/>
            <p14:sldId id="283"/>
          </p14:sldIdLst>
        </p14:section>
        <p14:section name="Dermatopathology" id="{6F64B4AC-8F0A-4BA7-9D0D-703D08788BA4}">
          <p14:sldIdLst>
            <p14:sldId id="284"/>
            <p14:sldId id="28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FC1B2"/>
    <a:srgbClr val="39686A"/>
    <a:srgbClr val="42E9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6" autoAdjust="0"/>
    <p:restoredTop sz="94660"/>
  </p:normalViewPr>
  <p:slideViewPr>
    <p:cSldViewPr snapToGrid="0">
      <p:cViewPr varScale="1">
        <p:scale>
          <a:sx n="82" d="100"/>
          <a:sy n="82" d="100"/>
        </p:scale>
        <p:origin x="72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012C215-6A43-4D23-88BD-91D0BA34569A}" type="doc">
      <dgm:prSet loTypeId="urn:microsoft.com/office/officeart/2005/8/layout/hierarchy1" loCatId="hierarchy" qsTypeId="urn:microsoft.com/office/officeart/2005/8/quickstyle/3d2" qsCatId="3D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857E7661-B6AA-4DE8-B2EF-D404D420E991}">
      <dgm:prSet phldrT="[Text]"/>
      <dgm:spPr/>
      <dgm:t>
        <a:bodyPr/>
        <a:lstStyle/>
        <a:p>
          <a:r>
            <a:rPr lang="en-US" b="0" i="0" dirty="0"/>
            <a:t>Hemorrhage</a:t>
          </a:r>
          <a:endParaRPr lang="en-US" b="0" dirty="0"/>
        </a:p>
      </dgm:t>
    </dgm:pt>
    <dgm:pt modelId="{6E03EED1-27E4-4A58-BEC9-D2FFE07080AF}" type="parTrans" cxnId="{623B9F99-DDEA-4D7A-A8B0-9EAF6E9378C9}">
      <dgm:prSet/>
      <dgm:spPr/>
      <dgm:t>
        <a:bodyPr/>
        <a:lstStyle/>
        <a:p>
          <a:endParaRPr lang="en-US"/>
        </a:p>
      </dgm:t>
    </dgm:pt>
    <dgm:pt modelId="{4E84F0F1-6BD3-46FD-B52C-459ADA49D0CC}" type="sibTrans" cxnId="{623B9F99-DDEA-4D7A-A8B0-9EAF6E9378C9}">
      <dgm:prSet/>
      <dgm:spPr/>
      <dgm:t>
        <a:bodyPr/>
        <a:lstStyle/>
        <a:p>
          <a:endParaRPr lang="en-US"/>
        </a:p>
      </dgm:t>
    </dgm:pt>
    <dgm:pt modelId="{937BA0D6-7DDD-483D-8B3C-B0BE395E7CDB}">
      <dgm:prSet phldrT="[Text]"/>
      <dgm:spPr/>
      <dgm:t>
        <a:bodyPr/>
        <a:lstStyle/>
        <a:p>
          <a:r>
            <a:rPr lang="en-US" b="0" i="0" dirty="0"/>
            <a:t>Hematoma</a:t>
          </a:r>
          <a:endParaRPr lang="en-US" b="0" dirty="0"/>
        </a:p>
      </dgm:t>
    </dgm:pt>
    <dgm:pt modelId="{1ACC607C-B709-4E5A-B53C-E8A86FE2DDB3}" type="parTrans" cxnId="{82DE9945-312E-4B12-ADF1-D0269584E782}">
      <dgm:prSet/>
      <dgm:spPr/>
      <dgm:t>
        <a:bodyPr/>
        <a:lstStyle/>
        <a:p>
          <a:endParaRPr lang="en-US"/>
        </a:p>
      </dgm:t>
    </dgm:pt>
    <dgm:pt modelId="{D720E0C5-59A5-47F2-898C-3DAF11CF8AD0}" type="sibTrans" cxnId="{82DE9945-312E-4B12-ADF1-D0269584E782}">
      <dgm:prSet/>
      <dgm:spPr/>
      <dgm:t>
        <a:bodyPr/>
        <a:lstStyle/>
        <a:p>
          <a:endParaRPr lang="en-US"/>
        </a:p>
      </dgm:t>
    </dgm:pt>
    <dgm:pt modelId="{71912A02-AFA8-40C9-97D9-5CACE51F14F7}">
      <dgm:prSet phldrT="[Text]"/>
      <dgm:spPr/>
      <dgm:t>
        <a:bodyPr/>
        <a:lstStyle/>
        <a:p>
          <a:r>
            <a:rPr lang="en-US" b="0" i="0" dirty="0"/>
            <a:t>Purpura</a:t>
          </a:r>
        </a:p>
      </dgm:t>
    </dgm:pt>
    <dgm:pt modelId="{AF029BF8-F41C-4B7A-84B7-A8E8929EA4F4}" type="parTrans" cxnId="{FACDE81B-449A-4774-8421-F09D6AE2F137}">
      <dgm:prSet/>
      <dgm:spPr/>
      <dgm:t>
        <a:bodyPr/>
        <a:lstStyle/>
        <a:p>
          <a:endParaRPr lang="en-US"/>
        </a:p>
      </dgm:t>
    </dgm:pt>
    <dgm:pt modelId="{C9C1F371-A8F8-444C-A796-FD04E9BE9756}" type="sibTrans" cxnId="{FACDE81B-449A-4774-8421-F09D6AE2F137}">
      <dgm:prSet/>
      <dgm:spPr/>
      <dgm:t>
        <a:bodyPr/>
        <a:lstStyle/>
        <a:p>
          <a:endParaRPr lang="en-US"/>
        </a:p>
      </dgm:t>
    </dgm:pt>
    <dgm:pt modelId="{4F802F15-B69E-4086-BF46-7A609F200202}">
      <dgm:prSet phldrT="[Text]"/>
      <dgm:spPr/>
      <dgm:t>
        <a:bodyPr/>
        <a:lstStyle/>
        <a:p>
          <a:r>
            <a:rPr lang="en-US" dirty="0"/>
            <a:t>Nonpalpable purpura</a:t>
          </a:r>
        </a:p>
      </dgm:t>
    </dgm:pt>
    <dgm:pt modelId="{2251BF6D-762B-42A7-8F25-7D46F05DB078}" type="parTrans" cxnId="{E6C3C353-985E-422E-9F94-C42AD9F00105}">
      <dgm:prSet/>
      <dgm:spPr/>
      <dgm:t>
        <a:bodyPr/>
        <a:lstStyle/>
        <a:p>
          <a:endParaRPr lang="en-US"/>
        </a:p>
      </dgm:t>
    </dgm:pt>
    <dgm:pt modelId="{7D2C29A6-D2A4-4F3F-8B73-A8D109C2BC27}" type="sibTrans" cxnId="{E6C3C353-985E-422E-9F94-C42AD9F00105}">
      <dgm:prSet/>
      <dgm:spPr/>
      <dgm:t>
        <a:bodyPr/>
        <a:lstStyle/>
        <a:p>
          <a:endParaRPr lang="en-US"/>
        </a:p>
      </dgm:t>
    </dgm:pt>
    <dgm:pt modelId="{708B753F-14E4-40E8-B24C-53D1A7A96705}">
      <dgm:prSet/>
      <dgm:spPr/>
      <dgm:t>
        <a:bodyPr/>
        <a:lstStyle/>
        <a:p>
          <a:r>
            <a:rPr lang="en-US"/>
            <a:t>Palpable purpura	</a:t>
          </a:r>
        </a:p>
      </dgm:t>
    </dgm:pt>
    <dgm:pt modelId="{AC5DF044-E81F-4DA3-957D-C28A91160CEB}" type="parTrans" cxnId="{0BD4E3E8-FCB7-4287-A883-78AB351BB156}">
      <dgm:prSet/>
      <dgm:spPr/>
      <dgm:t>
        <a:bodyPr/>
        <a:lstStyle/>
        <a:p>
          <a:endParaRPr lang="en-US"/>
        </a:p>
      </dgm:t>
    </dgm:pt>
    <dgm:pt modelId="{4F8F3B24-A3BC-463F-BBA8-7EC6AF2C4080}" type="sibTrans" cxnId="{0BD4E3E8-FCB7-4287-A883-78AB351BB156}">
      <dgm:prSet/>
      <dgm:spPr/>
      <dgm:t>
        <a:bodyPr/>
        <a:lstStyle/>
        <a:p>
          <a:endParaRPr lang="en-US"/>
        </a:p>
      </dgm:t>
    </dgm:pt>
    <dgm:pt modelId="{30EAFA82-515A-4611-8E95-2CE69403D8AF}">
      <dgm:prSet custT="1"/>
      <dgm:spPr/>
      <dgm:t>
        <a:bodyPr/>
        <a:lstStyle/>
        <a:p>
          <a:r>
            <a:rPr lang="en-US" sz="2700" kern="1200">
              <a:latin typeface="Calibri" panose="020F0502020204030204"/>
              <a:ea typeface="+mn-ea"/>
              <a:cs typeface="+mn-cs"/>
            </a:rPr>
            <a:t>Petechiae</a:t>
          </a:r>
          <a:endParaRPr lang="en-US" sz="2700" kern="1200" dirty="0">
            <a:latin typeface="Calibri" panose="020F0502020204030204"/>
            <a:ea typeface="+mn-ea"/>
            <a:cs typeface="+mn-cs"/>
          </a:endParaRPr>
        </a:p>
      </dgm:t>
    </dgm:pt>
    <dgm:pt modelId="{6C1B30EB-8586-4A38-88BF-1D1A55CBFBE7}" type="parTrans" cxnId="{8AD03BC9-E68A-4A18-A09E-E675CBAC52CF}">
      <dgm:prSet/>
      <dgm:spPr/>
      <dgm:t>
        <a:bodyPr/>
        <a:lstStyle/>
        <a:p>
          <a:endParaRPr lang="en-US"/>
        </a:p>
      </dgm:t>
    </dgm:pt>
    <dgm:pt modelId="{C1D67F39-9FD9-4793-81DD-1EAD4CC6902F}" type="sibTrans" cxnId="{8AD03BC9-E68A-4A18-A09E-E675CBAC52CF}">
      <dgm:prSet/>
      <dgm:spPr/>
      <dgm:t>
        <a:bodyPr/>
        <a:lstStyle/>
        <a:p>
          <a:endParaRPr lang="en-US"/>
        </a:p>
      </dgm:t>
    </dgm:pt>
    <dgm:pt modelId="{DF349F5B-303A-4CFC-B374-8040B467E72B}">
      <dgm:prSet custT="1"/>
      <dgm:spPr/>
      <dgm:t>
        <a:bodyPr/>
        <a:lstStyle/>
        <a:p>
          <a:r>
            <a:rPr lang="en-US" sz="2700" kern="1200">
              <a:latin typeface="Calibri" panose="020F0502020204030204"/>
              <a:ea typeface="+mn-ea"/>
              <a:cs typeface="+mn-cs"/>
            </a:rPr>
            <a:t>Ecchymosis</a:t>
          </a:r>
          <a:endParaRPr lang="en-US" sz="2700" kern="1200" dirty="0">
            <a:latin typeface="Calibri" panose="020F0502020204030204"/>
            <a:ea typeface="+mn-ea"/>
            <a:cs typeface="+mn-cs"/>
          </a:endParaRPr>
        </a:p>
      </dgm:t>
    </dgm:pt>
    <dgm:pt modelId="{64EEB62F-1BCF-4B44-A39E-7FFBDC93CB10}" type="parTrans" cxnId="{CB133A2A-2743-4B3F-AAEC-3D0A4629A9A0}">
      <dgm:prSet/>
      <dgm:spPr/>
      <dgm:t>
        <a:bodyPr/>
        <a:lstStyle/>
        <a:p>
          <a:endParaRPr lang="en-US"/>
        </a:p>
      </dgm:t>
    </dgm:pt>
    <dgm:pt modelId="{EC9D0E04-47C5-4570-B1D9-D409802C2F1B}" type="sibTrans" cxnId="{CB133A2A-2743-4B3F-AAEC-3D0A4629A9A0}">
      <dgm:prSet/>
      <dgm:spPr/>
      <dgm:t>
        <a:bodyPr/>
        <a:lstStyle/>
        <a:p>
          <a:endParaRPr lang="en-US"/>
        </a:p>
      </dgm:t>
    </dgm:pt>
    <dgm:pt modelId="{E60F437A-047A-46C6-A2C0-726172194058}" type="pres">
      <dgm:prSet presAssocID="{5012C215-6A43-4D23-88BD-91D0BA34569A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5FC01CD9-6669-4B49-94DC-9BCA5FDD8E51}" type="pres">
      <dgm:prSet presAssocID="{857E7661-B6AA-4DE8-B2EF-D404D420E991}" presName="hierRoot1" presStyleCnt="0"/>
      <dgm:spPr/>
    </dgm:pt>
    <dgm:pt modelId="{D41C5C18-F88F-45BE-BADE-D0D09E0681D7}" type="pres">
      <dgm:prSet presAssocID="{857E7661-B6AA-4DE8-B2EF-D404D420E991}" presName="composite" presStyleCnt="0"/>
      <dgm:spPr/>
    </dgm:pt>
    <dgm:pt modelId="{6E032DB8-DE56-4788-A5C8-4FED5D7128CA}" type="pres">
      <dgm:prSet presAssocID="{857E7661-B6AA-4DE8-B2EF-D404D420E991}" presName="background" presStyleLbl="node0" presStyleIdx="0" presStyleCnt="1"/>
      <dgm:spPr/>
    </dgm:pt>
    <dgm:pt modelId="{D9A0E935-CC11-44C6-9260-CA615E5568E1}" type="pres">
      <dgm:prSet presAssocID="{857E7661-B6AA-4DE8-B2EF-D404D420E991}" presName="text" presStyleLbl="fgAcc0" presStyleIdx="0" presStyleCnt="1">
        <dgm:presLayoutVars>
          <dgm:chPref val="3"/>
        </dgm:presLayoutVars>
      </dgm:prSet>
      <dgm:spPr/>
    </dgm:pt>
    <dgm:pt modelId="{B9F76251-BA1E-49BC-869E-9AF47E5C9326}" type="pres">
      <dgm:prSet presAssocID="{857E7661-B6AA-4DE8-B2EF-D404D420E991}" presName="hierChild2" presStyleCnt="0"/>
      <dgm:spPr/>
    </dgm:pt>
    <dgm:pt modelId="{4F15971F-3973-4BF8-8E46-CE33AAED6450}" type="pres">
      <dgm:prSet presAssocID="{1ACC607C-B709-4E5A-B53C-E8A86FE2DDB3}" presName="Name10" presStyleLbl="parChTrans1D2" presStyleIdx="0" presStyleCnt="2"/>
      <dgm:spPr/>
    </dgm:pt>
    <dgm:pt modelId="{9FB3A030-7AEC-457F-A029-6F158C2534F7}" type="pres">
      <dgm:prSet presAssocID="{937BA0D6-7DDD-483D-8B3C-B0BE395E7CDB}" presName="hierRoot2" presStyleCnt="0"/>
      <dgm:spPr/>
    </dgm:pt>
    <dgm:pt modelId="{58B59AFD-F224-44AD-8969-6361B728E831}" type="pres">
      <dgm:prSet presAssocID="{937BA0D6-7DDD-483D-8B3C-B0BE395E7CDB}" presName="composite2" presStyleCnt="0"/>
      <dgm:spPr/>
    </dgm:pt>
    <dgm:pt modelId="{BFE3E36E-5EF9-40A4-B396-BA7467A90A0C}" type="pres">
      <dgm:prSet presAssocID="{937BA0D6-7DDD-483D-8B3C-B0BE395E7CDB}" presName="background2" presStyleLbl="node2" presStyleIdx="0" presStyleCnt="2"/>
      <dgm:spPr/>
    </dgm:pt>
    <dgm:pt modelId="{0D61567D-126D-4BE8-A0D3-0B0445724992}" type="pres">
      <dgm:prSet presAssocID="{937BA0D6-7DDD-483D-8B3C-B0BE395E7CDB}" presName="text2" presStyleLbl="fgAcc2" presStyleIdx="0" presStyleCnt="2">
        <dgm:presLayoutVars>
          <dgm:chPref val="3"/>
        </dgm:presLayoutVars>
      </dgm:prSet>
      <dgm:spPr/>
    </dgm:pt>
    <dgm:pt modelId="{7608DEF3-E6F5-4BB4-8022-69135C2B49DE}" type="pres">
      <dgm:prSet presAssocID="{937BA0D6-7DDD-483D-8B3C-B0BE395E7CDB}" presName="hierChild3" presStyleCnt="0"/>
      <dgm:spPr/>
    </dgm:pt>
    <dgm:pt modelId="{CD8AF0F6-1F1D-43A7-A6B3-41433F61BF2D}" type="pres">
      <dgm:prSet presAssocID="{AF029BF8-F41C-4B7A-84B7-A8E8929EA4F4}" presName="Name10" presStyleLbl="parChTrans1D2" presStyleIdx="1" presStyleCnt="2"/>
      <dgm:spPr/>
    </dgm:pt>
    <dgm:pt modelId="{BD889023-49AA-4D27-9299-3CD9E280AB08}" type="pres">
      <dgm:prSet presAssocID="{71912A02-AFA8-40C9-97D9-5CACE51F14F7}" presName="hierRoot2" presStyleCnt="0"/>
      <dgm:spPr/>
    </dgm:pt>
    <dgm:pt modelId="{21B46BFD-6203-4D80-AFF4-64D1FFD596B0}" type="pres">
      <dgm:prSet presAssocID="{71912A02-AFA8-40C9-97D9-5CACE51F14F7}" presName="composite2" presStyleCnt="0"/>
      <dgm:spPr/>
    </dgm:pt>
    <dgm:pt modelId="{469A80AE-DCDF-408B-9ABA-ECB1BA1F88E1}" type="pres">
      <dgm:prSet presAssocID="{71912A02-AFA8-40C9-97D9-5CACE51F14F7}" presName="background2" presStyleLbl="node2" presStyleIdx="1" presStyleCnt="2"/>
      <dgm:spPr/>
    </dgm:pt>
    <dgm:pt modelId="{43E7033D-4B44-4347-B843-A6C08E42C47C}" type="pres">
      <dgm:prSet presAssocID="{71912A02-AFA8-40C9-97D9-5CACE51F14F7}" presName="text2" presStyleLbl="fgAcc2" presStyleIdx="1" presStyleCnt="2">
        <dgm:presLayoutVars>
          <dgm:chPref val="3"/>
        </dgm:presLayoutVars>
      </dgm:prSet>
      <dgm:spPr/>
    </dgm:pt>
    <dgm:pt modelId="{1FA88551-6844-4AEC-A0DD-E1391FAF8C4B}" type="pres">
      <dgm:prSet presAssocID="{71912A02-AFA8-40C9-97D9-5CACE51F14F7}" presName="hierChild3" presStyleCnt="0"/>
      <dgm:spPr/>
    </dgm:pt>
    <dgm:pt modelId="{22DE01FB-78ED-47BC-867E-8EDB36267852}" type="pres">
      <dgm:prSet presAssocID="{2251BF6D-762B-42A7-8F25-7D46F05DB078}" presName="Name17" presStyleLbl="parChTrans1D3" presStyleIdx="0" presStyleCnt="2"/>
      <dgm:spPr/>
    </dgm:pt>
    <dgm:pt modelId="{00242A08-32CE-4FAF-8FAA-92BD9E830B2C}" type="pres">
      <dgm:prSet presAssocID="{4F802F15-B69E-4086-BF46-7A609F200202}" presName="hierRoot3" presStyleCnt="0"/>
      <dgm:spPr/>
    </dgm:pt>
    <dgm:pt modelId="{411DED21-7BE2-4027-BB15-0F5BEA01D4F3}" type="pres">
      <dgm:prSet presAssocID="{4F802F15-B69E-4086-BF46-7A609F200202}" presName="composite3" presStyleCnt="0"/>
      <dgm:spPr/>
    </dgm:pt>
    <dgm:pt modelId="{61322DFD-FF5F-4781-9F4D-6F28150453D5}" type="pres">
      <dgm:prSet presAssocID="{4F802F15-B69E-4086-BF46-7A609F200202}" presName="background3" presStyleLbl="node3" presStyleIdx="0" presStyleCnt="2"/>
      <dgm:spPr/>
    </dgm:pt>
    <dgm:pt modelId="{4509613F-9F85-4FBA-ADF3-D2B9544A3461}" type="pres">
      <dgm:prSet presAssocID="{4F802F15-B69E-4086-BF46-7A609F200202}" presName="text3" presStyleLbl="fgAcc3" presStyleIdx="0" presStyleCnt="2">
        <dgm:presLayoutVars>
          <dgm:chPref val="3"/>
        </dgm:presLayoutVars>
      </dgm:prSet>
      <dgm:spPr/>
    </dgm:pt>
    <dgm:pt modelId="{84630572-ED96-47A5-98D2-1CDCF0303D9B}" type="pres">
      <dgm:prSet presAssocID="{4F802F15-B69E-4086-BF46-7A609F200202}" presName="hierChild4" presStyleCnt="0"/>
      <dgm:spPr/>
    </dgm:pt>
    <dgm:pt modelId="{02281DEC-9D16-4BC2-9DBD-DC89C075038A}" type="pres">
      <dgm:prSet presAssocID="{6C1B30EB-8586-4A38-88BF-1D1A55CBFBE7}" presName="Name23" presStyleLbl="parChTrans1D4" presStyleIdx="0" presStyleCnt="2"/>
      <dgm:spPr/>
    </dgm:pt>
    <dgm:pt modelId="{3C3F6181-01C4-424C-8162-E159E579F4A1}" type="pres">
      <dgm:prSet presAssocID="{30EAFA82-515A-4611-8E95-2CE69403D8AF}" presName="hierRoot4" presStyleCnt="0"/>
      <dgm:spPr/>
    </dgm:pt>
    <dgm:pt modelId="{DDB97CA4-C947-4B48-8C11-7D5481B34313}" type="pres">
      <dgm:prSet presAssocID="{30EAFA82-515A-4611-8E95-2CE69403D8AF}" presName="composite4" presStyleCnt="0"/>
      <dgm:spPr/>
    </dgm:pt>
    <dgm:pt modelId="{28D5A402-BDEA-40CD-9D42-F06BAD4985C4}" type="pres">
      <dgm:prSet presAssocID="{30EAFA82-515A-4611-8E95-2CE69403D8AF}" presName="background4" presStyleLbl="node4" presStyleIdx="0" presStyleCnt="2"/>
      <dgm:spPr/>
    </dgm:pt>
    <dgm:pt modelId="{507F256A-5011-47CF-806B-7F662AD13587}" type="pres">
      <dgm:prSet presAssocID="{30EAFA82-515A-4611-8E95-2CE69403D8AF}" presName="text4" presStyleLbl="fgAcc4" presStyleIdx="0" presStyleCnt="2">
        <dgm:presLayoutVars>
          <dgm:chPref val="3"/>
        </dgm:presLayoutVars>
      </dgm:prSet>
      <dgm:spPr/>
    </dgm:pt>
    <dgm:pt modelId="{5B31B4CC-8F6C-4734-AAC0-D1E49FDAA4C7}" type="pres">
      <dgm:prSet presAssocID="{30EAFA82-515A-4611-8E95-2CE69403D8AF}" presName="hierChild5" presStyleCnt="0"/>
      <dgm:spPr/>
    </dgm:pt>
    <dgm:pt modelId="{B19CB123-F7B1-4A6F-934B-471F4CA70FCA}" type="pres">
      <dgm:prSet presAssocID="{64EEB62F-1BCF-4B44-A39E-7FFBDC93CB10}" presName="Name23" presStyleLbl="parChTrans1D4" presStyleIdx="1" presStyleCnt="2"/>
      <dgm:spPr/>
    </dgm:pt>
    <dgm:pt modelId="{535EEA85-692C-493E-9742-66E22847859B}" type="pres">
      <dgm:prSet presAssocID="{DF349F5B-303A-4CFC-B374-8040B467E72B}" presName="hierRoot4" presStyleCnt="0"/>
      <dgm:spPr/>
    </dgm:pt>
    <dgm:pt modelId="{A48533A5-3E13-4BE7-8343-E197F93998CD}" type="pres">
      <dgm:prSet presAssocID="{DF349F5B-303A-4CFC-B374-8040B467E72B}" presName="composite4" presStyleCnt="0"/>
      <dgm:spPr/>
    </dgm:pt>
    <dgm:pt modelId="{1DDCF932-CD96-47FD-8015-026D07B2B226}" type="pres">
      <dgm:prSet presAssocID="{DF349F5B-303A-4CFC-B374-8040B467E72B}" presName="background4" presStyleLbl="node4" presStyleIdx="1" presStyleCnt="2"/>
      <dgm:spPr/>
    </dgm:pt>
    <dgm:pt modelId="{BE7CD91D-4833-461A-805A-DA4D9C444E2E}" type="pres">
      <dgm:prSet presAssocID="{DF349F5B-303A-4CFC-B374-8040B467E72B}" presName="text4" presStyleLbl="fgAcc4" presStyleIdx="1" presStyleCnt="2">
        <dgm:presLayoutVars>
          <dgm:chPref val="3"/>
        </dgm:presLayoutVars>
      </dgm:prSet>
      <dgm:spPr/>
    </dgm:pt>
    <dgm:pt modelId="{F8EFB5D7-0240-40FD-BC21-28AE50FDDDAE}" type="pres">
      <dgm:prSet presAssocID="{DF349F5B-303A-4CFC-B374-8040B467E72B}" presName="hierChild5" presStyleCnt="0"/>
      <dgm:spPr/>
    </dgm:pt>
    <dgm:pt modelId="{6117557A-CF92-477D-B130-1E4026BC92D1}" type="pres">
      <dgm:prSet presAssocID="{AC5DF044-E81F-4DA3-957D-C28A91160CEB}" presName="Name17" presStyleLbl="parChTrans1D3" presStyleIdx="1" presStyleCnt="2"/>
      <dgm:spPr/>
    </dgm:pt>
    <dgm:pt modelId="{D2E00020-3F1C-425E-8EF5-44D292C8519D}" type="pres">
      <dgm:prSet presAssocID="{708B753F-14E4-40E8-B24C-53D1A7A96705}" presName="hierRoot3" presStyleCnt="0"/>
      <dgm:spPr/>
    </dgm:pt>
    <dgm:pt modelId="{12888AED-6917-471E-9391-4F53A2028C55}" type="pres">
      <dgm:prSet presAssocID="{708B753F-14E4-40E8-B24C-53D1A7A96705}" presName="composite3" presStyleCnt="0"/>
      <dgm:spPr/>
    </dgm:pt>
    <dgm:pt modelId="{54841B2B-DA07-4746-8C9C-1106841B5F25}" type="pres">
      <dgm:prSet presAssocID="{708B753F-14E4-40E8-B24C-53D1A7A96705}" presName="background3" presStyleLbl="node3" presStyleIdx="1" presStyleCnt="2"/>
      <dgm:spPr/>
    </dgm:pt>
    <dgm:pt modelId="{5145D89D-8F4D-455B-90B4-11BDFA7FA218}" type="pres">
      <dgm:prSet presAssocID="{708B753F-14E4-40E8-B24C-53D1A7A96705}" presName="text3" presStyleLbl="fgAcc3" presStyleIdx="1" presStyleCnt="2">
        <dgm:presLayoutVars>
          <dgm:chPref val="3"/>
        </dgm:presLayoutVars>
      </dgm:prSet>
      <dgm:spPr/>
    </dgm:pt>
    <dgm:pt modelId="{1897DF48-06E3-4A3C-9BFA-6448216A62E0}" type="pres">
      <dgm:prSet presAssocID="{708B753F-14E4-40E8-B24C-53D1A7A96705}" presName="hierChild4" presStyleCnt="0"/>
      <dgm:spPr/>
    </dgm:pt>
  </dgm:ptLst>
  <dgm:cxnLst>
    <dgm:cxn modelId="{FACDE81B-449A-4774-8421-F09D6AE2F137}" srcId="{857E7661-B6AA-4DE8-B2EF-D404D420E991}" destId="{71912A02-AFA8-40C9-97D9-5CACE51F14F7}" srcOrd="1" destOrd="0" parTransId="{AF029BF8-F41C-4B7A-84B7-A8E8929EA4F4}" sibTransId="{C9C1F371-A8F8-444C-A796-FD04E9BE9756}"/>
    <dgm:cxn modelId="{CB133A2A-2743-4B3F-AAEC-3D0A4629A9A0}" srcId="{4F802F15-B69E-4086-BF46-7A609F200202}" destId="{DF349F5B-303A-4CFC-B374-8040B467E72B}" srcOrd="1" destOrd="0" parTransId="{64EEB62F-1BCF-4B44-A39E-7FFBDC93CB10}" sibTransId="{EC9D0E04-47C5-4570-B1D9-D409802C2F1B}"/>
    <dgm:cxn modelId="{E739DA3E-9BFC-4B29-81C0-2B8BE19BE082}" type="presOf" srcId="{857E7661-B6AA-4DE8-B2EF-D404D420E991}" destId="{D9A0E935-CC11-44C6-9260-CA615E5568E1}" srcOrd="0" destOrd="0" presId="urn:microsoft.com/office/officeart/2005/8/layout/hierarchy1"/>
    <dgm:cxn modelId="{9C952142-51B7-4FC8-B1EB-0F9B6122ED25}" type="presOf" srcId="{30EAFA82-515A-4611-8E95-2CE69403D8AF}" destId="{507F256A-5011-47CF-806B-7F662AD13587}" srcOrd="0" destOrd="0" presId="urn:microsoft.com/office/officeart/2005/8/layout/hierarchy1"/>
    <dgm:cxn modelId="{93433565-4B6B-4F58-9971-D35870AE8A2C}" type="presOf" srcId="{AF029BF8-F41C-4B7A-84B7-A8E8929EA4F4}" destId="{CD8AF0F6-1F1D-43A7-A6B3-41433F61BF2D}" srcOrd="0" destOrd="0" presId="urn:microsoft.com/office/officeart/2005/8/layout/hierarchy1"/>
    <dgm:cxn modelId="{82DE9945-312E-4B12-ADF1-D0269584E782}" srcId="{857E7661-B6AA-4DE8-B2EF-D404D420E991}" destId="{937BA0D6-7DDD-483D-8B3C-B0BE395E7CDB}" srcOrd="0" destOrd="0" parTransId="{1ACC607C-B709-4E5A-B53C-E8A86FE2DDB3}" sibTransId="{D720E0C5-59A5-47F2-898C-3DAF11CF8AD0}"/>
    <dgm:cxn modelId="{E6C3C353-985E-422E-9F94-C42AD9F00105}" srcId="{71912A02-AFA8-40C9-97D9-5CACE51F14F7}" destId="{4F802F15-B69E-4086-BF46-7A609F200202}" srcOrd="0" destOrd="0" parTransId="{2251BF6D-762B-42A7-8F25-7D46F05DB078}" sibTransId="{7D2C29A6-D2A4-4F3F-8B73-A8D109C2BC27}"/>
    <dgm:cxn modelId="{2E4F6685-E697-42EA-B3BD-14B8073EBB71}" type="presOf" srcId="{DF349F5B-303A-4CFC-B374-8040B467E72B}" destId="{BE7CD91D-4833-461A-805A-DA4D9C444E2E}" srcOrd="0" destOrd="0" presId="urn:microsoft.com/office/officeart/2005/8/layout/hierarchy1"/>
    <dgm:cxn modelId="{50A8BE94-75D2-49CF-AE8F-D957CA1F64D0}" type="presOf" srcId="{5012C215-6A43-4D23-88BD-91D0BA34569A}" destId="{E60F437A-047A-46C6-A2C0-726172194058}" srcOrd="0" destOrd="0" presId="urn:microsoft.com/office/officeart/2005/8/layout/hierarchy1"/>
    <dgm:cxn modelId="{E7EAD098-BDED-4F75-AD16-8DE44D90F0CD}" type="presOf" srcId="{64EEB62F-1BCF-4B44-A39E-7FFBDC93CB10}" destId="{B19CB123-F7B1-4A6F-934B-471F4CA70FCA}" srcOrd="0" destOrd="0" presId="urn:microsoft.com/office/officeart/2005/8/layout/hierarchy1"/>
    <dgm:cxn modelId="{623B9F99-DDEA-4D7A-A8B0-9EAF6E9378C9}" srcId="{5012C215-6A43-4D23-88BD-91D0BA34569A}" destId="{857E7661-B6AA-4DE8-B2EF-D404D420E991}" srcOrd="0" destOrd="0" parTransId="{6E03EED1-27E4-4A58-BEC9-D2FFE07080AF}" sibTransId="{4E84F0F1-6BD3-46FD-B52C-459ADA49D0CC}"/>
    <dgm:cxn modelId="{55984D9E-E431-47BC-9B77-02118D3B88AE}" type="presOf" srcId="{708B753F-14E4-40E8-B24C-53D1A7A96705}" destId="{5145D89D-8F4D-455B-90B4-11BDFA7FA218}" srcOrd="0" destOrd="0" presId="urn:microsoft.com/office/officeart/2005/8/layout/hierarchy1"/>
    <dgm:cxn modelId="{F5E031A2-44D4-4662-8E60-AB12E7873A85}" type="presOf" srcId="{71912A02-AFA8-40C9-97D9-5CACE51F14F7}" destId="{43E7033D-4B44-4347-B843-A6C08E42C47C}" srcOrd="0" destOrd="0" presId="urn:microsoft.com/office/officeart/2005/8/layout/hierarchy1"/>
    <dgm:cxn modelId="{562825B3-AA28-4141-AEBD-86A5C0018815}" type="presOf" srcId="{AC5DF044-E81F-4DA3-957D-C28A91160CEB}" destId="{6117557A-CF92-477D-B130-1E4026BC92D1}" srcOrd="0" destOrd="0" presId="urn:microsoft.com/office/officeart/2005/8/layout/hierarchy1"/>
    <dgm:cxn modelId="{B3A717BC-6C09-44BC-B608-C9C8CABF70D7}" type="presOf" srcId="{4F802F15-B69E-4086-BF46-7A609F200202}" destId="{4509613F-9F85-4FBA-ADF3-D2B9544A3461}" srcOrd="0" destOrd="0" presId="urn:microsoft.com/office/officeart/2005/8/layout/hierarchy1"/>
    <dgm:cxn modelId="{30E2D9C3-BA85-4309-AE74-749C2651DE8F}" type="presOf" srcId="{6C1B30EB-8586-4A38-88BF-1D1A55CBFBE7}" destId="{02281DEC-9D16-4BC2-9DBD-DC89C075038A}" srcOrd="0" destOrd="0" presId="urn:microsoft.com/office/officeart/2005/8/layout/hierarchy1"/>
    <dgm:cxn modelId="{191517C6-99AC-4552-A71B-A3A97F1C64C9}" type="presOf" srcId="{2251BF6D-762B-42A7-8F25-7D46F05DB078}" destId="{22DE01FB-78ED-47BC-867E-8EDB36267852}" srcOrd="0" destOrd="0" presId="urn:microsoft.com/office/officeart/2005/8/layout/hierarchy1"/>
    <dgm:cxn modelId="{8AD03BC9-E68A-4A18-A09E-E675CBAC52CF}" srcId="{4F802F15-B69E-4086-BF46-7A609F200202}" destId="{30EAFA82-515A-4611-8E95-2CE69403D8AF}" srcOrd="0" destOrd="0" parTransId="{6C1B30EB-8586-4A38-88BF-1D1A55CBFBE7}" sibTransId="{C1D67F39-9FD9-4793-81DD-1EAD4CC6902F}"/>
    <dgm:cxn modelId="{0A2B51D8-E19A-4DDA-A0D6-AB6A1A2890A6}" type="presOf" srcId="{937BA0D6-7DDD-483D-8B3C-B0BE395E7CDB}" destId="{0D61567D-126D-4BE8-A0D3-0B0445724992}" srcOrd="0" destOrd="0" presId="urn:microsoft.com/office/officeart/2005/8/layout/hierarchy1"/>
    <dgm:cxn modelId="{0BD4E3E8-FCB7-4287-A883-78AB351BB156}" srcId="{71912A02-AFA8-40C9-97D9-5CACE51F14F7}" destId="{708B753F-14E4-40E8-B24C-53D1A7A96705}" srcOrd="1" destOrd="0" parTransId="{AC5DF044-E81F-4DA3-957D-C28A91160CEB}" sibTransId="{4F8F3B24-A3BC-463F-BBA8-7EC6AF2C4080}"/>
    <dgm:cxn modelId="{544655F8-BFC5-45C3-A8DD-2DD1E29F1785}" type="presOf" srcId="{1ACC607C-B709-4E5A-B53C-E8A86FE2DDB3}" destId="{4F15971F-3973-4BF8-8E46-CE33AAED6450}" srcOrd="0" destOrd="0" presId="urn:microsoft.com/office/officeart/2005/8/layout/hierarchy1"/>
    <dgm:cxn modelId="{2559F56A-F277-44B1-B052-DF726A0B0ED4}" type="presParOf" srcId="{E60F437A-047A-46C6-A2C0-726172194058}" destId="{5FC01CD9-6669-4B49-94DC-9BCA5FDD8E51}" srcOrd="0" destOrd="0" presId="urn:microsoft.com/office/officeart/2005/8/layout/hierarchy1"/>
    <dgm:cxn modelId="{185BAD77-09B7-4B24-BB55-A33D01479EF9}" type="presParOf" srcId="{5FC01CD9-6669-4B49-94DC-9BCA5FDD8E51}" destId="{D41C5C18-F88F-45BE-BADE-D0D09E0681D7}" srcOrd="0" destOrd="0" presId="urn:microsoft.com/office/officeart/2005/8/layout/hierarchy1"/>
    <dgm:cxn modelId="{41964D6C-05CE-43F8-8BE1-F6827EF4120A}" type="presParOf" srcId="{D41C5C18-F88F-45BE-BADE-D0D09E0681D7}" destId="{6E032DB8-DE56-4788-A5C8-4FED5D7128CA}" srcOrd="0" destOrd="0" presId="urn:microsoft.com/office/officeart/2005/8/layout/hierarchy1"/>
    <dgm:cxn modelId="{AF769F45-EAA3-430C-BD90-D9B38A4E5E05}" type="presParOf" srcId="{D41C5C18-F88F-45BE-BADE-D0D09E0681D7}" destId="{D9A0E935-CC11-44C6-9260-CA615E5568E1}" srcOrd="1" destOrd="0" presId="urn:microsoft.com/office/officeart/2005/8/layout/hierarchy1"/>
    <dgm:cxn modelId="{990F7C56-F4B3-4BA3-976E-12F263CFADD1}" type="presParOf" srcId="{5FC01CD9-6669-4B49-94DC-9BCA5FDD8E51}" destId="{B9F76251-BA1E-49BC-869E-9AF47E5C9326}" srcOrd="1" destOrd="0" presId="urn:microsoft.com/office/officeart/2005/8/layout/hierarchy1"/>
    <dgm:cxn modelId="{F4F22E72-DB16-416E-AFD6-3AF80B21DE37}" type="presParOf" srcId="{B9F76251-BA1E-49BC-869E-9AF47E5C9326}" destId="{4F15971F-3973-4BF8-8E46-CE33AAED6450}" srcOrd="0" destOrd="0" presId="urn:microsoft.com/office/officeart/2005/8/layout/hierarchy1"/>
    <dgm:cxn modelId="{3D33E116-9193-426D-A5A3-C5CFFDC7BD73}" type="presParOf" srcId="{B9F76251-BA1E-49BC-869E-9AF47E5C9326}" destId="{9FB3A030-7AEC-457F-A029-6F158C2534F7}" srcOrd="1" destOrd="0" presId="urn:microsoft.com/office/officeart/2005/8/layout/hierarchy1"/>
    <dgm:cxn modelId="{1AA1DFCD-1E56-4867-926B-39AB641DAA99}" type="presParOf" srcId="{9FB3A030-7AEC-457F-A029-6F158C2534F7}" destId="{58B59AFD-F224-44AD-8969-6361B728E831}" srcOrd="0" destOrd="0" presId="urn:microsoft.com/office/officeart/2005/8/layout/hierarchy1"/>
    <dgm:cxn modelId="{CAF28869-EE56-49CD-ABBE-AE89D1033EA0}" type="presParOf" srcId="{58B59AFD-F224-44AD-8969-6361B728E831}" destId="{BFE3E36E-5EF9-40A4-B396-BA7467A90A0C}" srcOrd="0" destOrd="0" presId="urn:microsoft.com/office/officeart/2005/8/layout/hierarchy1"/>
    <dgm:cxn modelId="{AD2E152F-0DEE-48D5-B1BB-892EB070CBD1}" type="presParOf" srcId="{58B59AFD-F224-44AD-8969-6361B728E831}" destId="{0D61567D-126D-4BE8-A0D3-0B0445724992}" srcOrd="1" destOrd="0" presId="urn:microsoft.com/office/officeart/2005/8/layout/hierarchy1"/>
    <dgm:cxn modelId="{6C47B64D-612A-4BAA-9406-A34B5F3C7B6A}" type="presParOf" srcId="{9FB3A030-7AEC-457F-A029-6F158C2534F7}" destId="{7608DEF3-E6F5-4BB4-8022-69135C2B49DE}" srcOrd="1" destOrd="0" presId="urn:microsoft.com/office/officeart/2005/8/layout/hierarchy1"/>
    <dgm:cxn modelId="{8C2ECA85-0A93-49C0-9256-086E1BA67696}" type="presParOf" srcId="{B9F76251-BA1E-49BC-869E-9AF47E5C9326}" destId="{CD8AF0F6-1F1D-43A7-A6B3-41433F61BF2D}" srcOrd="2" destOrd="0" presId="urn:microsoft.com/office/officeart/2005/8/layout/hierarchy1"/>
    <dgm:cxn modelId="{AF200B54-9B16-4797-B8A9-DD7BFE3C2649}" type="presParOf" srcId="{B9F76251-BA1E-49BC-869E-9AF47E5C9326}" destId="{BD889023-49AA-4D27-9299-3CD9E280AB08}" srcOrd="3" destOrd="0" presId="urn:microsoft.com/office/officeart/2005/8/layout/hierarchy1"/>
    <dgm:cxn modelId="{982C3052-07FE-463F-8E31-EA327133E348}" type="presParOf" srcId="{BD889023-49AA-4D27-9299-3CD9E280AB08}" destId="{21B46BFD-6203-4D80-AFF4-64D1FFD596B0}" srcOrd="0" destOrd="0" presId="urn:microsoft.com/office/officeart/2005/8/layout/hierarchy1"/>
    <dgm:cxn modelId="{C521FB50-04E2-468A-A47A-94711527A70D}" type="presParOf" srcId="{21B46BFD-6203-4D80-AFF4-64D1FFD596B0}" destId="{469A80AE-DCDF-408B-9ABA-ECB1BA1F88E1}" srcOrd="0" destOrd="0" presId="urn:microsoft.com/office/officeart/2005/8/layout/hierarchy1"/>
    <dgm:cxn modelId="{F1EA4E67-D052-4D11-A333-08F2A48A4DEC}" type="presParOf" srcId="{21B46BFD-6203-4D80-AFF4-64D1FFD596B0}" destId="{43E7033D-4B44-4347-B843-A6C08E42C47C}" srcOrd="1" destOrd="0" presId="urn:microsoft.com/office/officeart/2005/8/layout/hierarchy1"/>
    <dgm:cxn modelId="{AFE49FC1-9B0C-4424-9B94-4097298477FE}" type="presParOf" srcId="{BD889023-49AA-4D27-9299-3CD9E280AB08}" destId="{1FA88551-6844-4AEC-A0DD-E1391FAF8C4B}" srcOrd="1" destOrd="0" presId="urn:microsoft.com/office/officeart/2005/8/layout/hierarchy1"/>
    <dgm:cxn modelId="{D65CFF95-B6F1-46E6-A2E1-EC8A5D055D21}" type="presParOf" srcId="{1FA88551-6844-4AEC-A0DD-E1391FAF8C4B}" destId="{22DE01FB-78ED-47BC-867E-8EDB36267852}" srcOrd="0" destOrd="0" presId="urn:microsoft.com/office/officeart/2005/8/layout/hierarchy1"/>
    <dgm:cxn modelId="{7388014D-CCF1-47CC-B224-A6A83114FCF6}" type="presParOf" srcId="{1FA88551-6844-4AEC-A0DD-E1391FAF8C4B}" destId="{00242A08-32CE-4FAF-8FAA-92BD9E830B2C}" srcOrd="1" destOrd="0" presId="urn:microsoft.com/office/officeart/2005/8/layout/hierarchy1"/>
    <dgm:cxn modelId="{511870E6-FEA2-4B3D-B019-094F35951A53}" type="presParOf" srcId="{00242A08-32CE-4FAF-8FAA-92BD9E830B2C}" destId="{411DED21-7BE2-4027-BB15-0F5BEA01D4F3}" srcOrd="0" destOrd="0" presId="urn:microsoft.com/office/officeart/2005/8/layout/hierarchy1"/>
    <dgm:cxn modelId="{A3B908D1-0A41-491C-BD5F-3DBA5E382D20}" type="presParOf" srcId="{411DED21-7BE2-4027-BB15-0F5BEA01D4F3}" destId="{61322DFD-FF5F-4781-9F4D-6F28150453D5}" srcOrd="0" destOrd="0" presId="urn:microsoft.com/office/officeart/2005/8/layout/hierarchy1"/>
    <dgm:cxn modelId="{BFADD8DA-1576-4842-BC39-1BFB544FB88E}" type="presParOf" srcId="{411DED21-7BE2-4027-BB15-0F5BEA01D4F3}" destId="{4509613F-9F85-4FBA-ADF3-D2B9544A3461}" srcOrd="1" destOrd="0" presId="urn:microsoft.com/office/officeart/2005/8/layout/hierarchy1"/>
    <dgm:cxn modelId="{10B3DA16-1D2E-4741-A904-18D7F0BC4922}" type="presParOf" srcId="{00242A08-32CE-4FAF-8FAA-92BD9E830B2C}" destId="{84630572-ED96-47A5-98D2-1CDCF0303D9B}" srcOrd="1" destOrd="0" presId="urn:microsoft.com/office/officeart/2005/8/layout/hierarchy1"/>
    <dgm:cxn modelId="{44EE5B91-2F50-4C67-A7FE-5ABB8FD897E0}" type="presParOf" srcId="{84630572-ED96-47A5-98D2-1CDCF0303D9B}" destId="{02281DEC-9D16-4BC2-9DBD-DC89C075038A}" srcOrd="0" destOrd="0" presId="urn:microsoft.com/office/officeart/2005/8/layout/hierarchy1"/>
    <dgm:cxn modelId="{F76058DE-D76D-4028-981D-92F1F8CB519C}" type="presParOf" srcId="{84630572-ED96-47A5-98D2-1CDCF0303D9B}" destId="{3C3F6181-01C4-424C-8162-E159E579F4A1}" srcOrd="1" destOrd="0" presId="urn:microsoft.com/office/officeart/2005/8/layout/hierarchy1"/>
    <dgm:cxn modelId="{EC5A5A3A-2648-444F-9BBA-C3A3DE64AED0}" type="presParOf" srcId="{3C3F6181-01C4-424C-8162-E159E579F4A1}" destId="{DDB97CA4-C947-4B48-8C11-7D5481B34313}" srcOrd="0" destOrd="0" presId="urn:microsoft.com/office/officeart/2005/8/layout/hierarchy1"/>
    <dgm:cxn modelId="{EC43B074-6712-4932-97BE-B1A2C8939C6B}" type="presParOf" srcId="{DDB97CA4-C947-4B48-8C11-7D5481B34313}" destId="{28D5A402-BDEA-40CD-9D42-F06BAD4985C4}" srcOrd="0" destOrd="0" presId="urn:microsoft.com/office/officeart/2005/8/layout/hierarchy1"/>
    <dgm:cxn modelId="{3A7DAD9A-8B26-4862-A65F-7BEAFFB1A68B}" type="presParOf" srcId="{DDB97CA4-C947-4B48-8C11-7D5481B34313}" destId="{507F256A-5011-47CF-806B-7F662AD13587}" srcOrd="1" destOrd="0" presId="urn:microsoft.com/office/officeart/2005/8/layout/hierarchy1"/>
    <dgm:cxn modelId="{1031C6F0-88E9-406E-BB76-938819C61E3D}" type="presParOf" srcId="{3C3F6181-01C4-424C-8162-E159E579F4A1}" destId="{5B31B4CC-8F6C-4734-AAC0-D1E49FDAA4C7}" srcOrd="1" destOrd="0" presId="urn:microsoft.com/office/officeart/2005/8/layout/hierarchy1"/>
    <dgm:cxn modelId="{89280889-E4BC-48E2-A6D5-1F88C0D5DDFC}" type="presParOf" srcId="{84630572-ED96-47A5-98D2-1CDCF0303D9B}" destId="{B19CB123-F7B1-4A6F-934B-471F4CA70FCA}" srcOrd="2" destOrd="0" presId="urn:microsoft.com/office/officeart/2005/8/layout/hierarchy1"/>
    <dgm:cxn modelId="{EF1463D9-2AB5-47FD-A828-8D732F3826DE}" type="presParOf" srcId="{84630572-ED96-47A5-98D2-1CDCF0303D9B}" destId="{535EEA85-692C-493E-9742-66E22847859B}" srcOrd="3" destOrd="0" presId="urn:microsoft.com/office/officeart/2005/8/layout/hierarchy1"/>
    <dgm:cxn modelId="{2361D7D8-EC11-4113-A861-79D07A6ECE65}" type="presParOf" srcId="{535EEA85-692C-493E-9742-66E22847859B}" destId="{A48533A5-3E13-4BE7-8343-E197F93998CD}" srcOrd="0" destOrd="0" presId="urn:microsoft.com/office/officeart/2005/8/layout/hierarchy1"/>
    <dgm:cxn modelId="{76075541-C040-461F-88AF-D86A81839DAC}" type="presParOf" srcId="{A48533A5-3E13-4BE7-8343-E197F93998CD}" destId="{1DDCF932-CD96-47FD-8015-026D07B2B226}" srcOrd="0" destOrd="0" presId="urn:microsoft.com/office/officeart/2005/8/layout/hierarchy1"/>
    <dgm:cxn modelId="{E64A9B7E-8F2B-4A38-909E-2706AD59E2D5}" type="presParOf" srcId="{A48533A5-3E13-4BE7-8343-E197F93998CD}" destId="{BE7CD91D-4833-461A-805A-DA4D9C444E2E}" srcOrd="1" destOrd="0" presId="urn:microsoft.com/office/officeart/2005/8/layout/hierarchy1"/>
    <dgm:cxn modelId="{9789B101-D44F-4BA3-990D-DB77C58A4C4D}" type="presParOf" srcId="{535EEA85-692C-493E-9742-66E22847859B}" destId="{F8EFB5D7-0240-40FD-BC21-28AE50FDDDAE}" srcOrd="1" destOrd="0" presId="urn:microsoft.com/office/officeart/2005/8/layout/hierarchy1"/>
    <dgm:cxn modelId="{22673086-0DD1-4AB8-B8B1-88B045493677}" type="presParOf" srcId="{1FA88551-6844-4AEC-A0DD-E1391FAF8C4B}" destId="{6117557A-CF92-477D-B130-1E4026BC92D1}" srcOrd="2" destOrd="0" presId="urn:microsoft.com/office/officeart/2005/8/layout/hierarchy1"/>
    <dgm:cxn modelId="{D064A9D9-FE7F-442D-A421-0ECAF00E5BC5}" type="presParOf" srcId="{1FA88551-6844-4AEC-A0DD-E1391FAF8C4B}" destId="{D2E00020-3F1C-425E-8EF5-44D292C8519D}" srcOrd="3" destOrd="0" presId="urn:microsoft.com/office/officeart/2005/8/layout/hierarchy1"/>
    <dgm:cxn modelId="{D4E6E7BC-8F0F-47D6-9D3C-B9AECB453980}" type="presParOf" srcId="{D2E00020-3F1C-425E-8EF5-44D292C8519D}" destId="{12888AED-6917-471E-9391-4F53A2028C55}" srcOrd="0" destOrd="0" presId="urn:microsoft.com/office/officeart/2005/8/layout/hierarchy1"/>
    <dgm:cxn modelId="{A8994559-1579-4A15-80F3-5949AEEF8DF8}" type="presParOf" srcId="{12888AED-6917-471E-9391-4F53A2028C55}" destId="{54841B2B-DA07-4746-8C9C-1106841B5F25}" srcOrd="0" destOrd="0" presId="urn:microsoft.com/office/officeart/2005/8/layout/hierarchy1"/>
    <dgm:cxn modelId="{A869D4BF-5B6B-4CBA-977A-4E5950F33B50}" type="presParOf" srcId="{12888AED-6917-471E-9391-4F53A2028C55}" destId="{5145D89D-8F4D-455B-90B4-11BDFA7FA218}" srcOrd="1" destOrd="0" presId="urn:microsoft.com/office/officeart/2005/8/layout/hierarchy1"/>
    <dgm:cxn modelId="{421E9387-94B3-4197-AF29-4AB8AE4D1977}" type="presParOf" srcId="{D2E00020-3F1C-425E-8EF5-44D292C8519D}" destId="{1897DF48-06E3-4A3C-9BFA-6448216A62E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117557A-CF92-477D-B130-1E4026BC92D1}">
      <dsp:nvSpPr>
        <dsp:cNvPr id="0" name=""/>
        <dsp:cNvSpPr/>
      </dsp:nvSpPr>
      <dsp:spPr>
        <a:xfrm>
          <a:off x="6582891" y="3043003"/>
          <a:ext cx="1190178" cy="56641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85996"/>
              </a:lnTo>
              <a:lnTo>
                <a:pt x="1190178" y="385996"/>
              </a:lnTo>
              <a:lnTo>
                <a:pt x="1190178" y="566416"/>
              </a:lnTo>
            </a:path>
          </a:pathLst>
        </a:cu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19CB123-F7B1-4A6F-934B-471F4CA70FCA}">
      <dsp:nvSpPr>
        <dsp:cNvPr id="0" name=""/>
        <dsp:cNvSpPr/>
      </dsp:nvSpPr>
      <dsp:spPr>
        <a:xfrm>
          <a:off x="5392712" y="4846123"/>
          <a:ext cx="1190178" cy="56641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85996"/>
              </a:lnTo>
              <a:lnTo>
                <a:pt x="1190178" y="385996"/>
              </a:lnTo>
              <a:lnTo>
                <a:pt x="1190178" y="566416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2281DEC-9D16-4BC2-9DBD-DC89C075038A}">
      <dsp:nvSpPr>
        <dsp:cNvPr id="0" name=""/>
        <dsp:cNvSpPr/>
      </dsp:nvSpPr>
      <dsp:spPr>
        <a:xfrm>
          <a:off x="4202534" y="4846123"/>
          <a:ext cx="1190178" cy="566416"/>
        </a:xfrm>
        <a:custGeom>
          <a:avLst/>
          <a:gdLst/>
          <a:ahLst/>
          <a:cxnLst/>
          <a:rect l="0" t="0" r="0" b="0"/>
          <a:pathLst>
            <a:path>
              <a:moveTo>
                <a:pt x="1190178" y="0"/>
              </a:moveTo>
              <a:lnTo>
                <a:pt x="1190178" y="385996"/>
              </a:lnTo>
              <a:lnTo>
                <a:pt x="0" y="385996"/>
              </a:lnTo>
              <a:lnTo>
                <a:pt x="0" y="566416"/>
              </a:lnTo>
            </a:path>
          </a:pathLst>
        </a:cu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2DE01FB-78ED-47BC-867E-8EDB36267852}">
      <dsp:nvSpPr>
        <dsp:cNvPr id="0" name=""/>
        <dsp:cNvSpPr/>
      </dsp:nvSpPr>
      <dsp:spPr>
        <a:xfrm>
          <a:off x="5392712" y="3043003"/>
          <a:ext cx="1190178" cy="566416"/>
        </a:xfrm>
        <a:custGeom>
          <a:avLst/>
          <a:gdLst/>
          <a:ahLst/>
          <a:cxnLst/>
          <a:rect l="0" t="0" r="0" b="0"/>
          <a:pathLst>
            <a:path>
              <a:moveTo>
                <a:pt x="1190178" y="0"/>
              </a:moveTo>
              <a:lnTo>
                <a:pt x="1190178" y="385996"/>
              </a:lnTo>
              <a:lnTo>
                <a:pt x="0" y="385996"/>
              </a:lnTo>
              <a:lnTo>
                <a:pt x="0" y="566416"/>
              </a:lnTo>
            </a:path>
          </a:pathLst>
        </a:cu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D8AF0F6-1F1D-43A7-A6B3-41433F61BF2D}">
      <dsp:nvSpPr>
        <dsp:cNvPr id="0" name=""/>
        <dsp:cNvSpPr/>
      </dsp:nvSpPr>
      <dsp:spPr>
        <a:xfrm>
          <a:off x="5392712" y="1239883"/>
          <a:ext cx="1190178" cy="56641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85996"/>
              </a:lnTo>
              <a:lnTo>
                <a:pt x="1190178" y="385996"/>
              </a:lnTo>
              <a:lnTo>
                <a:pt x="1190178" y="566416"/>
              </a:lnTo>
            </a:path>
          </a:pathLst>
        </a:cu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F15971F-3973-4BF8-8E46-CE33AAED6450}">
      <dsp:nvSpPr>
        <dsp:cNvPr id="0" name=""/>
        <dsp:cNvSpPr/>
      </dsp:nvSpPr>
      <dsp:spPr>
        <a:xfrm>
          <a:off x="4202534" y="1239883"/>
          <a:ext cx="1190178" cy="566416"/>
        </a:xfrm>
        <a:custGeom>
          <a:avLst/>
          <a:gdLst/>
          <a:ahLst/>
          <a:cxnLst/>
          <a:rect l="0" t="0" r="0" b="0"/>
          <a:pathLst>
            <a:path>
              <a:moveTo>
                <a:pt x="1190178" y="0"/>
              </a:moveTo>
              <a:lnTo>
                <a:pt x="1190178" y="385996"/>
              </a:lnTo>
              <a:lnTo>
                <a:pt x="0" y="385996"/>
              </a:lnTo>
              <a:lnTo>
                <a:pt x="0" y="566416"/>
              </a:lnTo>
            </a:path>
          </a:pathLst>
        </a:cu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E032DB8-DE56-4788-A5C8-4FED5D7128CA}">
      <dsp:nvSpPr>
        <dsp:cNvPr id="0" name=""/>
        <dsp:cNvSpPr/>
      </dsp:nvSpPr>
      <dsp:spPr>
        <a:xfrm>
          <a:off x="4418930" y="3179"/>
          <a:ext cx="1947564" cy="1236703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D9A0E935-CC11-44C6-9260-CA615E5568E1}">
      <dsp:nvSpPr>
        <dsp:cNvPr id="0" name=""/>
        <dsp:cNvSpPr/>
      </dsp:nvSpPr>
      <dsp:spPr>
        <a:xfrm>
          <a:off x="4635326" y="208755"/>
          <a:ext cx="1947564" cy="123670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540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b="0" i="0" kern="1200" dirty="0"/>
            <a:t>Hemorrhage</a:t>
          </a:r>
          <a:endParaRPr lang="en-US" sz="2500" b="0" kern="1200" dirty="0"/>
        </a:p>
      </dsp:txBody>
      <dsp:txXfrm>
        <a:off x="4671548" y="244977"/>
        <a:ext cx="1875120" cy="1164259"/>
      </dsp:txXfrm>
    </dsp:sp>
    <dsp:sp modelId="{BFE3E36E-5EF9-40A4-B396-BA7467A90A0C}">
      <dsp:nvSpPr>
        <dsp:cNvPr id="0" name=""/>
        <dsp:cNvSpPr/>
      </dsp:nvSpPr>
      <dsp:spPr>
        <a:xfrm>
          <a:off x="3228751" y="1806299"/>
          <a:ext cx="1947564" cy="1236703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D61567D-126D-4BE8-A0D3-0B0445724992}">
      <dsp:nvSpPr>
        <dsp:cNvPr id="0" name=""/>
        <dsp:cNvSpPr/>
      </dsp:nvSpPr>
      <dsp:spPr>
        <a:xfrm>
          <a:off x="3445147" y="2011876"/>
          <a:ext cx="1947564" cy="123670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540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b="0" i="0" kern="1200" dirty="0"/>
            <a:t>Hematoma</a:t>
          </a:r>
          <a:endParaRPr lang="en-US" sz="2500" b="0" kern="1200" dirty="0"/>
        </a:p>
      </dsp:txBody>
      <dsp:txXfrm>
        <a:off x="3481369" y="2048098"/>
        <a:ext cx="1875120" cy="1164259"/>
      </dsp:txXfrm>
    </dsp:sp>
    <dsp:sp modelId="{469A80AE-DCDF-408B-9ABA-ECB1BA1F88E1}">
      <dsp:nvSpPr>
        <dsp:cNvPr id="0" name=""/>
        <dsp:cNvSpPr/>
      </dsp:nvSpPr>
      <dsp:spPr>
        <a:xfrm>
          <a:off x="5609108" y="1806299"/>
          <a:ext cx="1947564" cy="1236703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43E7033D-4B44-4347-B843-A6C08E42C47C}">
      <dsp:nvSpPr>
        <dsp:cNvPr id="0" name=""/>
        <dsp:cNvSpPr/>
      </dsp:nvSpPr>
      <dsp:spPr>
        <a:xfrm>
          <a:off x="5825504" y="2011876"/>
          <a:ext cx="1947564" cy="123670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540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b="0" i="0" kern="1200" dirty="0"/>
            <a:t>Purpura</a:t>
          </a:r>
        </a:p>
      </dsp:txBody>
      <dsp:txXfrm>
        <a:off x="5861726" y="2048098"/>
        <a:ext cx="1875120" cy="1164259"/>
      </dsp:txXfrm>
    </dsp:sp>
    <dsp:sp modelId="{61322DFD-FF5F-4781-9F4D-6F28150453D5}">
      <dsp:nvSpPr>
        <dsp:cNvPr id="0" name=""/>
        <dsp:cNvSpPr/>
      </dsp:nvSpPr>
      <dsp:spPr>
        <a:xfrm>
          <a:off x="4418930" y="3609420"/>
          <a:ext cx="1947564" cy="1236703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4509613F-9F85-4FBA-ADF3-D2B9544A3461}">
      <dsp:nvSpPr>
        <dsp:cNvPr id="0" name=""/>
        <dsp:cNvSpPr/>
      </dsp:nvSpPr>
      <dsp:spPr>
        <a:xfrm>
          <a:off x="4635326" y="3814996"/>
          <a:ext cx="1947564" cy="123670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540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/>
            <a:t>Nonpalpable purpura</a:t>
          </a:r>
        </a:p>
      </dsp:txBody>
      <dsp:txXfrm>
        <a:off x="4671548" y="3851218"/>
        <a:ext cx="1875120" cy="1164259"/>
      </dsp:txXfrm>
    </dsp:sp>
    <dsp:sp modelId="{28D5A402-BDEA-40CD-9D42-F06BAD4985C4}">
      <dsp:nvSpPr>
        <dsp:cNvPr id="0" name=""/>
        <dsp:cNvSpPr/>
      </dsp:nvSpPr>
      <dsp:spPr>
        <a:xfrm>
          <a:off x="3228751" y="5412540"/>
          <a:ext cx="1947564" cy="1236703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507F256A-5011-47CF-806B-7F662AD13587}">
      <dsp:nvSpPr>
        <dsp:cNvPr id="0" name=""/>
        <dsp:cNvSpPr/>
      </dsp:nvSpPr>
      <dsp:spPr>
        <a:xfrm>
          <a:off x="3445147" y="5618116"/>
          <a:ext cx="1947564" cy="123670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540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>
              <a:latin typeface="Calibri" panose="020F0502020204030204"/>
              <a:ea typeface="+mn-ea"/>
              <a:cs typeface="+mn-cs"/>
            </a:rPr>
            <a:t>Petechiae</a:t>
          </a:r>
          <a:endParaRPr lang="en-US" sz="2700" kern="1200" dirty="0">
            <a:latin typeface="Calibri" panose="020F0502020204030204"/>
            <a:ea typeface="+mn-ea"/>
            <a:cs typeface="+mn-cs"/>
          </a:endParaRPr>
        </a:p>
      </dsp:txBody>
      <dsp:txXfrm>
        <a:off x="3481369" y="5654338"/>
        <a:ext cx="1875120" cy="1164259"/>
      </dsp:txXfrm>
    </dsp:sp>
    <dsp:sp modelId="{1DDCF932-CD96-47FD-8015-026D07B2B226}">
      <dsp:nvSpPr>
        <dsp:cNvPr id="0" name=""/>
        <dsp:cNvSpPr/>
      </dsp:nvSpPr>
      <dsp:spPr>
        <a:xfrm>
          <a:off x="5609108" y="5412540"/>
          <a:ext cx="1947564" cy="1236703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E7CD91D-4833-461A-805A-DA4D9C444E2E}">
      <dsp:nvSpPr>
        <dsp:cNvPr id="0" name=""/>
        <dsp:cNvSpPr/>
      </dsp:nvSpPr>
      <dsp:spPr>
        <a:xfrm>
          <a:off x="5825504" y="5618116"/>
          <a:ext cx="1947564" cy="123670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540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>
              <a:latin typeface="Calibri" panose="020F0502020204030204"/>
              <a:ea typeface="+mn-ea"/>
              <a:cs typeface="+mn-cs"/>
            </a:rPr>
            <a:t>Ecchymosis</a:t>
          </a:r>
          <a:endParaRPr lang="en-US" sz="2700" kern="1200" dirty="0">
            <a:latin typeface="Calibri" panose="020F0502020204030204"/>
            <a:ea typeface="+mn-ea"/>
            <a:cs typeface="+mn-cs"/>
          </a:endParaRPr>
        </a:p>
      </dsp:txBody>
      <dsp:txXfrm>
        <a:off x="5861726" y="5654338"/>
        <a:ext cx="1875120" cy="1164259"/>
      </dsp:txXfrm>
    </dsp:sp>
    <dsp:sp modelId="{54841B2B-DA07-4746-8C9C-1106841B5F25}">
      <dsp:nvSpPr>
        <dsp:cNvPr id="0" name=""/>
        <dsp:cNvSpPr/>
      </dsp:nvSpPr>
      <dsp:spPr>
        <a:xfrm>
          <a:off x="6799287" y="3609420"/>
          <a:ext cx="1947564" cy="1236703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5145D89D-8F4D-455B-90B4-11BDFA7FA218}">
      <dsp:nvSpPr>
        <dsp:cNvPr id="0" name=""/>
        <dsp:cNvSpPr/>
      </dsp:nvSpPr>
      <dsp:spPr>
        <a:xfrm>
          <a:off x="7015683" y="3814996"/>
          <a:ext cx="1947564" cy="123670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540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Palpable purpura	</a:t>
          </a:r>
        </a:p>
      </dsp:txBody>
      <dsp:txXfrm>
        <a:off x="7051905" y="3851218"/>
        <a:ext cx="1875120" cy="116425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A076FB-2A8C-4824-BC30-2FEBEACE65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128838"/>
            <a:ext cx="9144000" cy="2387600"/>
          </a:xfrm>
          <a:solidFill>
            <a:schemeClr val="bg1">
              <a:alpha val="25000"/>
            </a:schemeClr>
          </a:solidFill>
        </p:spPr>
        <p:txBody>
          <a:bodyPr anchor="ctr"/>
          <a:lstStyle>
            <a:lvl1pPr algn="ctr">
              <a:defRPr sz="6000">
                <a:latin typeface="Arial Black" panose="020B0A040201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BA9548A-EFF3-4631-B529-DECA6FEBE23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583113"/>
            <a:ext cx="9144000" cy="531812"/>
          </a:xfrm>
          <a:solidFill>
            <a:schemeClr val="bg1">
              <a:alpha val="25000"/>
            </a:schemeClr>
          </a:solidFill>
        </p:spPr>
        <p:txBody>
          <a:bodyPr/>
          <a:lstStyle>
            <a:lvl1pPr marL="0" indent="0" algn="ctr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2624A8-9AA3-4BAD-9CEA-FE0A83CFBE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0CB24-247A-4649-83A2-90D40034CD32}" type="datetimeFigureOut">
              <a:rPr lang="en-US" smtClean="0"/>
              <a:t>8/1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3D1B9F-4C31-43BE-9B1E-A89ADC3EEB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F05B8C8-3808-43F9-84D3-2847263934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52BF78-0B7E-4747-9B69-A4DE67D45A8C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CE8817E3-0AE2-3127-A89A-6D2B60D1B2E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2095" y="6097084"/>
            <a:ext cx="1259905" cy="750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08527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5B5955-BCC2-4526-8C66-FA8B206092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7BBF62F-F365-42D3-9ACC-54C50A1AE2A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044179-747C-4166-832F-346A1CF259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0CB24-247A-4649-83A2-90D40034CD32}" type="datetimeFigureOut">
              <a:rPr lang="en-US" smtClean="0"/>
              <a:t>8/1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67D5CA-8468-48C2-AEFB-30FEA6899F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EE9AC0-A03F-4DDB-B608-D41AAA072A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52BF78-0B7E-4747-9B69-A4DE67D45A8C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F7FFAAFA-1B71-E829-A57F-EC06177C1F6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2095" y="6097084"/>
            <a:ext cx="1259905" cy="750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4795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97EC7A5-EAA5-4DC3-8AA4-0F440B85597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2C1880C-3A34-4DFF-8A6B-3A090281FEB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E6E9B8B-85CD-4C7F-9690-69EBB84A25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0CB24-247A-4649-83A2-90D40034CD32}" type="datetimeFigureOut">
              <a:rPr lang="en-US" smtClean="0"/>
              <a:t>8/1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B686C4-3A78-4603-A576-72ADC7270D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7EDF2D-4739-42CF-9A8A-A436924E7E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52BF78-0B7E-4747-9B69-A4DE67D45A8C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5C5718DC-AEFC-0E82-A88F-06507F59AE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2095" y="6097084"/>
            <a:ext cx="1259905" cy="750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51426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AD1CE4-56C5-41FF-9EBC-9EBC60D365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0D3FD4B-E07B-43E0-A8BC-086EE64225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05026"/>
            <a:ext cx="10515600" cy="4871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EF039B-4F16-4E71-A2C3-85E2DA18EA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0CB24-247A-4649-83A2-90D40034CD32}" type="datetimeFigureOut">
              <a:rPr lang="en-US" smtClean="0"/>
              <a:t>8/1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94F403-623F-4E50-AC31-46FEF04398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48767B-020F-45B8-BA2B-D39B4CB88B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52BF78-0B7E-4747-9B69-A4DE67D45A8C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866DBDF-1BD8-4658-ABD9-9EDE85A13308}"/>
              </a:ext>
            </a:extLst>
          </p:cNvPr>
          <p:cNvCxnSpPr>
            <a:cxnSpLocks/>
          </p:cNvCxnSpPr>
          <p:nvPr/>
        </p:nvCxnSpPr>
        <p:spPr>
          <a:xfrm>
            <a:off x="838200" y="1127464"/>
            <a:ext cx="105156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4728F66C-E033-1173-C939-1129E0D1D4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2095" y="6097084"/>
            <a:ext cx="1259905" cy="750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21358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444AFF-E897-496A-99B4-7EA22E9EB0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498109"/>
            <a:ext cx="10515600" cy="1054748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A264AA1-E8BA-4398-8F73-30E7F92A89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5560291"/>
            <a:ext cx="10515600" cy="529359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A1915A-0766-4A16-BAC6-5FF5C3743B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0CB24-247A-4649-83A2-90D40034CD32}" type="datetimeFigureOut">
              <a:rPr lang="en-US" smtClean="0"/>
              <a:t>8/1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E91DE5-81A7-4A5C-A639-6924EE4A14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B68516-E0CE-4DA7-9568-FA1B13239A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52BF78-0B7E-4747-9B69-A4DE67D45A8C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DCD8CA71-7A2A-FBA7-CA36-BE2BEAA3424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2095" y="6097084"/>
            <a:ext cx="1259905" cy="750693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63EBD22-3F13-A959-3D5E-66389450B2C2}"/>
              </a:ext>
            </a:extLst>
          </p:cNvPr>
          <p:cNvSpPr/>
          <p:nvPr userDrawn="1"/>
        </p:nvSpPr>
        <p:spPr>
          <a:xfrm>
            <a:off x="0" y="4341091"/>
            <a:ext cx="12192000" cy="2516909"/>
          </a:xfrm>
          <a:prstGeom prst="rect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96384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2D00CE-6E98-4613-9B8D-4603D7AAC2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CEFAD9-0E09-4CDE-848C-F2BE2ABBB09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306851"/>
            <a:ext cx="5181600" cy="48701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D96C61D-447B-4FB8-9440-13C873E6FD0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306851"/>
            <a:ext cx="5181600" cy="48701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C263517-6DF2-4106-B348-551A36BFA7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0CB24-247A-4649-83A2-90D40034CD32}" type="datetimeFigureOut">
              <a:rPr lang="en-US" smtClean="0"/>
              <a:t>8/1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BF4E09D-C5B6-48C6-8DD5-35EB314B6F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F2618E3-1B3B-468B-8C5A-D8F04C9CA2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52BF78-0B7E-4747-9B69-A4DE67D45A8C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33F288E-349B-4134-AF96-B840DB8E6237}"/>
              </a:ext>
            </a:extLst>
          </p:cNvPr>
          <p:cNvCxnSpPr>
            <a:cxnSpLocks/>
          </p:cNvCxnSpPr>
          <p:nvPr/>
        </p:nvCxnSpPr>
        <p:spPr>
          <a:xfrm>
            <a:off x="838200" y="1127464"/>
            <a:ext cx="105156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13B3057E-B9B7-73F4-E3C4-E8C3E9558F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2095" y="6097084"/>
            <a:ext cx="1259905" cy="750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51887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63E178-45AB-447A-9F38-0D00C796F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08D7E6-2D11-40DA-BEE8-2B459F4B5D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38C5D1-4174-4381-89C5-B114D5767A0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E43342-DE8F-48BA-9B6C-D2F208777C7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A467A31-FB65-4D49-83A5-D29FFA19A55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F7FDDE6-1991-4FD9-92F6-A9C582B585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0CB24-247A-4649-83A2-90D40034CD32}" type="datetimeFigureOut">
              <a:rPr lang="en-US" smtClean="0"/>
              <a:t>8/11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6CC8F9B-64C1-4B91-BE2C-8E65D927B7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4D46C20-9D6C-470C-8751-B903A94A84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52BF78-0B7E-4747-9B69-A4DE67D45A8C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7E8454E6-8A4D-4094-A4A4-10B36A93E4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2095" y="6097084"/>
            <a:ext cx="1259905" cy="750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27051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592CDE-5C94-44C7-85C7-0E2FE190B3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EBD2F52-DACF-4EB7-96DA-DB37F6E12A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0CB24-247A-4649-83A2-90D40034CD32}" type="datetimeFigureOut">
              <a:rPr lang="en-US" smtClean="0"/>
              <a:t>8/11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9C0068B-1B46-458E-AE92-2D771D9CE5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A6D68B2-19CA-4821-9889-05642F8DC1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52BF78-0B7E-4747-9B69-A4DE67D45A8C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9A006F3C-FA72-9BC7-2909-331D2095440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2095" y="6097084"/>
            <a:ext cx="1259905" cy="750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8829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ABBD859-72BD-40CE-9BF2-3D4D81A5D2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0CB24-247A-4649-83A2-90D40034CD32}" type="datetimeFigureOut">
              <a:rPr lang="en-US" smtClean="0"/>
              <a:t>8/11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DE28FFF-DE4F-423C-ABEB-C660801265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4C415E-23F1-4A92-B9CB-C71BF69B9C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52BF78-0B7E-4747-9B69-A4DE67D45A8C}" type="slidenum">
              <a:rPr lang="en-US" smtClean="0"/>
              <a:t>‹#›</a:t>
            </a:fld>
            <a:endParaRPr lang="en-US"/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37824C0C-7B8C-598F-BC5E-AEB2C3EE22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2095" y="6097084"/>
            <a:ext cx="1259905" cy="750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35801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4F5B82-8230-471E-A106-A0AFFD8F80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170DD4-86AA-42EF-AF1D-9BB8025C7A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401D82C-CD23-4E57-9B0F-511FA71C8AA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2E2A53E-28FD-4271-9091-7DC0577BCB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0CB24-247A-4649-83A2-90D40034CD32}" type="datetimeFigureOut">
              <a:rPr lang="en-US" smtClean="0"/>
              <a:t>8/1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7D7ABDE-6541-4F3E-B8F0-D0A7E81327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CD4B4A9-629B-406C-A3E0-1B1AE5E2BA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52BF78-0B7E-4747-9B69-A4DE67D45A8C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159F3A41-1FE9-5D8E-4EB3-0FBD519001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2095" y="6097084"/>
            <a:ext cx="1259905" cy="750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3437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B61082-5C08-464B-9152-8CDBA73D58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5A35EC0-E183-47BD-88B2-F8B5ADF666C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A4445DB-9300-4506-AD47-F7D68445E9A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CE4827F-8E15-450A-9C1C-379FA09ADB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0CB24-247A-4649-83A2-90D40034CD32}" type="datetimeFigureOut">
              <a:rPr lang="en-US" smtClean="0"/>
              <a:t>8/1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1746861-6621-4D83-8413-062D63211F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528D4F-E40E-4E98-A6F8-FAF6AA2EDF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52BF78-0B7E-4747-9B69-A4DE67D45A8C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D65B11D8-61D0-F7AA-30A6-8D22716F30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2095" y="6097084"/>
            <a:ext cx="1259905" cy="750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84321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7A0AEE9-33FE-4CD9-91B0-A09EBA2371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623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3E4698-DC2D-4252-A490-2FF47AE83F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386730"/>
            <a:ext cx="10515600" cy="47902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5A73D77-D96E-43B8-96AE-E6ABE75F2DC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480CB24-247A-4649-83A2-90D40034CD32}" type="datetimeFigureOut">
              <a:rPr lang="en-US" smtClean="0"/>
              <a:t>8/1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436011-E576-434E-AEE4-2BD129784B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721986-2EEB-481E-9F68-A6887B6250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52BF78-0B7E-4747-9B69-A4DE67D45A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8231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45515E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v"/>
        <a:defRPr sz="2800" kern="1200">
          <a:solidFill>
            <a:srgbClr val="45515E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2400" kern="1200">
          <a:solidFill>
            <a:srgbClr val="45515E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45515E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45515E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45515E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B200C2-5706-4756-45C5-702FE5627A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</p:spPr>
        <p:txBody>
          <a:bodyPr/>
          <a:lstStyle/>
          <a:p>
            <a:r>
              <a:rPr lang="en-US" dirty="0"/>
              <a:t>1ry, 2ry and complex skin lesions</a:t>
            </a:r>
          </a:p>
        </p:txBody>
      </p:sp>
    </p:spTree>
    <p:extLst>
      <p:ext uri="{BB962C8B-B14F-4D97-AF65-F5344CB8AC3E}">
        <p14:creationId xmlns:p14="http://schemas.microsoft.com/office/powerpoint/2010/main" val="10062115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7DF33F-EBA4-75C2-E80F-2B5AF12BE8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a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0E3E3E-2379-58B7-CBCD-AC95DDDF964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1306851"/>
            <a:ext cx="10515599" cy="4870112"/>
          </a:xfrm>
        </p:spPr>
        <p:txBody>
          <a:bodyPr/>
          <a:lstStyle/>
          <a:p>
            <a:r>
              <a:rPr lang="en-US" dirty="0"/>
              <a:t>Well-circumscribed, pruritic, and erythematous papule or plaque with dermal edema and irregular borders (e.g., seen in urticaria)</a:t>
            </a:r>
          </a:p>
          <a:p>
            <a:r>
              <a:rPr lang="en-US" dirty="0">
                <a:solidFill>
                  <a:srgbClr val="FF0000"/>
                </a:solidFill>
              </a:rPr>
              <a:t>Transient (hours to days)</a:t>
            </a:r>
          </a:p>
        </p:txBody>
      </p:sp>
      <p:pic>
        <p:nvPicPr>
          <p:cNvPr id="6146" name="Picture 2" descr="Urticaria (primary lesion)">
            <a:extLst>
              <a:ext uri="{FF2B5EF4-FFF2-40B4-BE49-F238E27FC236}">
                <a16:creationId xmlns:a16="http://schemas.microsoft.com/office/drawing/2014/main" id="{0ADB2458-E7DE-04AA-8B52-ADE150705A81}"/>
              </a:ext>
            </a:extLst>
          </p:cNvPr>
          <p:cNvPicPr>
            <a:picLocks noGrp="1" noChangeAspect="1" noChangeArrowheads="1"/>
          </p:cNvPicPr>
          <p:nvPr>
            <p:ph sz="half" idx="2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547" b="11049"/>
          <a:stretch/>
        </p:blipFill>
        <p:spPr bwMode="auto">
          <a:xfrm>
            <a:off x="1435724" y="2689805"/>
            <a:ext cx="5420352" cy="39878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عنصر نائب للمحتوى 3" descr="FCASCD_urticaria_wheals.jpg">
            <a:extLst>
              <a:ext uri="{FF2B5EF4-FFF2-40B4-BE49-F238E27FC236}">
                <a16:creationId xmlns:a16="http://schemas.microsoft.com/office/drawing/2014/main" id="{E4301F68-022C-FF8E-5D16-D2B89FC83218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083977" y="2944163"/>
            <a:ext cx="3542650" cy="3479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909865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51714C-B0DD-C4E3-9647-50BD7EB763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sicle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029CD7-9BC1-37B2-A697-0C4B365D3CE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306851"/>
            <a:ext cx="10515600" cy="4870112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Small fluid-containing blister (collection of fluid in the skin) ≤ 1 cm in diameter (e.g., seen in eczema </a:t>
            </a:r>
            <a:r>
              <a:rPr lang="en-US" dirty="0" err="1"/>
              <a:t>herpeticum</a:t>
            </a:r>
            <a:r>
              <a:rPr lang="en-US" dirty="0"/>
              <a:t>, chickenpox, herpes zoster)</a:t>
            </a:r>
          </a:p>
        </p:txBody>
      </p:sp>
      <p:pic>
        <p:nvPicPr>
          <p:cNvPr id="7170" name="Picture 2" descr="Vesicle (primary lesion)">
            <a:extLst>
              <a:ext uri="{FF2B5EF4-FFF2-40B4-BE49-F238E27FC236}">
                <a16:creationId xmlns:a16="http://schemas.microsoft.com/office/drawing/2014/main" id="{459F3594-3945-878F-C50B-D945AE14CF8E}"/>
              </a:ext>
            </a:extLst>
          </p:cNvPr>
          <p:cNvPicPr>
            <a:picLocks noGrp="1" noChangeAspect="1" noChangeArrowheads="1"/>
          </p:cNvPicPr>
          <p:nvPr>
            <p:ph sz="half" idx="2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765" b="8702"/>
          <a:stretch/>
        </p:blipFill>
        <p:spPr bwMode="auto">
          <a:xfrm>
            <a:off x="1352548" y="2624267"/>
            <a:ext cx="4743452" cy="4182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عنصر نائب للمحتوى 3" descr="vesicles.jpg">
            <a:extLst>
              <a:ext uri="{FF2B5EF4-FFF2-40B4-BE49-F238E27FC236}">
                <a16:creationId xmlns:a16="http://schemas.microsoft.com/office/drawing/2014/main" id="{A88126D4-602C-55F5-152E-A75C543E2745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695345" y="2868556"/>
            <a:ext cx="3668975" cy="3693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196370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E6EA96-5536-BC1C-6958-05D24A2A4B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stu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AD83C0-D039-89E4-E776-77C4E106189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306851"/>
            <a:ext cx="10515600" cy="4870112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3200" dirty="0"/>
              <a:t>Vesicle filled with pus (e.g., seen in pustular psoriasis)</a:t>
            </a:r>
          </a:p>
        </p:txBody>
      </p:sp>
      <p:pic>
        <p:nvPicPr>
          <p:cNvPr id="9219" name="Picture 3" descr="Pustule (primary lesion)">
            <a:extLst>
              <a:ext uri="{FF2B5EF4-FFF2-40B4-BE49-F238E27FC236}">
                <a16:creationId xmlns:a16="http://schemas.microsoft.com/office/drawing/2014/main" id="{28495225-EFC9-CCED-ED7E-B7F42ABF8DDB}"/>
              </a:ext>
            </a:extLst>
          </p:cNvPr>
          <p:cNvPicPr>
            <a:picLocks noGrp="1" noChangeAspect="1" noChangeArrowheads="1"/>
          </p:cNvPicPr>
          <p:nvPr>
            <p:ph sz="half" idx="2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502" b="11832"/>
          <a:stretch/>
        </p:blipFill>
        <p:spPr bwMode="auto">
          <a:xfrm>
            <a:off x="856136" y="2404523"/>
            <a:ext cx="5679059" cy="4088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عنصر نائب للمحتوى 3" descr="Pustule-3.jpg">
            <a:extLst>
              <a:ext uri="{FF2B5EF4-FFF2-40B4-BE49-F238E27FC236}">
                <a16:creationId xmlns:a16="http://schemas.microsoft.com/office/drawing/2014/main" id="{D2E45160-C7C1-1D4A-AD97-7C35CC8196C2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810882" y="2698468"/>
            <a:ext cx="4267230" cy="3500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61448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8" name="Picture 6" descr="Bulla (primary lesion)">
            <a:extLst>
              <a:ext uri="{FF2B5EF4-FFF2-40B4-BE49-F238E27FC236}">
                <a16:creationId xmlns:a16="http://schemas.microsoft.com/office/drawing/2014/main" id="{28D0F2CD-7E9D-865D-E027-CECC66659C5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62" b="6543"/>
          <a:stretch/>
        </p:blipFill>
        <p:spPr bwMode="auto">
          <a:xfrm>
            <a:off x="367198" y="2235706"/>
            <a:ext cx="8210550" cy="4341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AF408528-5A82-FC84-C545-5808D976CD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lla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D856596-26FB-364F-3DCC-8827E4B12BD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arge fluid-containing blister &gt; 1 cm in diameter (e.g., see in bullous pemphigoid, Stevens-Johnson syndrome)</a:t>
            </a:r>
          </a:p>
        </p:txBody>
      </p:sp>
      <p:pic>
        <p:nvPicPr>
          <p:cNvPr id="7" name="عنصر نائب للمحتوى 3" descr="11-morf-bulla-011334118021677.jpg">
            <a:extLst>
              <a:ext uri="{FF2B5EF4-FFF2-40B4-BE49-F238E27FC236}">
                <a16:creationId xmlns:a16="http://schemas.microsoft.com/office/drawing/2014/main" id="{E4ACC9B6-AEA3-6F74-7DCA-81306D09BE1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/>
          <a:srcRect r="40757"/>
          <a:stretch/>
        </p:blipFill>
        <p:spPr>
          <a:xfrm>
            <a:off x="8728409" y="2477744"/>
            <a:ext cx="2474730" cy="3857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906106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F37DFD-8C2C-1C1C-27F3-F837BD9551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rro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15A6F0-6892-9C97-F622-ECB01195979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lightly elevated , grayish , tortuous line in the skin ended by papule.</a:t>
            </a:r>
          </a:p>
          <a:p>
            <a:r>
              <a:rPr lang="en-US" dirty="0"/>
              <a:t>Example : scabies</a:t>
            </a:r>
          </a:p>
        </p:txBody>
      </p:sp>
      <p:pic>
        <p:nvPicPr>
          <p:cNvPr id="4" name="عنصر نائب للمحتوى 3" descr="Scabies_7a_493_335_70_http-www.pcds.org.ukeeassetsimgwatermark.gif_0_0_80_r_b_-5_-5_.jpg">
            <a:extLst>
              <a:ext uri="{FF2B5EF4-FFF2-40B4-BE49-F238E27FC236}">
                <a16:creationId xmlns:a16="http://schemas.microsoft.com/office/drawing/2014/main" id="{CC3B7E82-09CC-EFB7-705A-1DCB91C39AE5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748087" y="2554538"/>
            <a:ext cx="4695825" cy="3714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150546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4B0F8C7-D907-8874-B828-CAF55EA30C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condary skin lesion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147241E-CB4B-C8B1-2155-3DF4B49FF97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80744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EF6559D-E8E1-5CC7-ECB9-AC2EB57A21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ale 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F5F45C4-6BB1-1E2B-9E81-0742D5D2AC2A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 anchor="ctr"/>
          <a:lstStyle/>
          <a:p>
            <a:r>
              <a:rPr lang="en-US" dirty="0"/>
              <a:t>Thickened stratum corneum</a:t>
            </a:r>
          </a:p>
          <a:p>
            <a:r>
              <a:rPr lang="en-US" dirty="0"/>
              <a:t>Scales are flaky, dry, and usually whitish.</a:t>
            </a:r>
          </a:p>
          <a:p>
            <a:r>
              <a:rPr lang="en-US" dirty="0"/>
              <a:t>In contrast, crusts are more often moist and yellowish or brown.</a:t>
            </a:r>
          </a:p>
          <a:p>
            <a:r>
              <a:rPr lang="en-US" dirty="0"/>
              <a:t>E.g., seen in ichthyosis vulgaris, squamous cell carcinoma, eczema, psoriasis</a:t>
            </a:r>
          </a:p>
          <a:p>
            <a:endParaRPr lang="en-US" dirty="0"/>
          </a:p>
        </p:txBody>
      </p:sp>
      <p:pic>
        <p:nvPicPr>
          <p:cNvPr id="10242" name="Picture 2" descr="Scale (secondary lesion)">
            <a:extLst>
              <a:ext uri="{FF2B5EF4-FFF2-40B4-BE49-F238E27FC236}">
                <a16:creationId xmlns:a16="http://schemas.microsoft.com/office/drawing/2014/main" id="{695179A0-9A05-B7BC-2B8F-2F09E7CF4D52}"/>
              </a:ext>
            </a:extLst>
          </p:cNvPr>
          <p:cNvPicPr>
            <a:picLocks noGrp="1" noChangeAspect="1" noChangeArrowheads="1"/>
          </p:cNvPicPr>
          <p:nvPr>
            <p:ph sz="half" idx="2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90" b="13201"/>
          <a:stretch/>
        </p:blipFill>
        <p:spPr>
          <a:xfrm>
            <a:off x="7184570" y="1311516"/>
            <a:ext cx="4169229" cy="3802641"/>
          </a:xfrm>
        </p:spPr>
      </p:pic>
      <p:pic>
        <p:nvPicPr>
          <p:cNvPr id="6" name="عنصر نائب للمحتوى 3" descr="1124.jpg">
            <a:extLst>
              <a:ext uri="{FF2B5EF4-FFF2-40B4-BE49-F238E27FC236}">
                <a16:creationId xmlns:a16="http://schemas.microsoft.com/office/drawing/2014/main" id="{BD38CE4F-6686-A4E1-7494-E8C5AC6C24FB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172202" y="4003297"/>
            <a:ext cx="2892230" cy="2711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308853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9673E5-D04E-A151-CFB1-AB75BC9DAD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us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5EEA773-E76E-05A5-B7DE-511F9568166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1306851"/>
            <a:ext cx="10515601" cy="4870112"/>
          </a:xfrm>
        </p:spPr>
        <p:txBody>
          <a:bodyPr/>
          <a:lstStyle/>
          <a:p>
            <a:r>
              <a:rPr lang="en-US" dirty="0"/>
              <a:t>Dried exudates such as pus or blood</a:t>
            </a:r>
          </a:p>
          <a:p>
            <a:r>
              <a:rPr lang="en-US" dirty="0"/>
              <a:t>E.g., seen in atopic dermatitis, </a:t>
            </a:r>
            <a:r>
              <a:rPr lang="en-US" dirty="0" err="1"/>
              <a:t>nonbullous</a:t>
            </a:r>
            <a:r>
              <a:rPr lang="en-US" dirty="0"/>
              <a:t> impetigo</a:t>
            </a:r>
          </a:p>
        </p:txBody>
      </p:sp>
      <p:pic>
        <p:nvPicPr>
          <p:cNvPr id="11266" name="Picture 2" descr="Crust">
            <a:extLst>
              <a:ext uri="{FF2B5EF4-FFF2-40B4-BE49-F238E27FC236}">
                <a16:creationId xmlns:a16="http://schemas.microsoft.com/office/drawing/2014/main" id="{BD92241F-ED79-B387-A2CB-2FBC9BBBAC9F}"/>
              </a:ext>
            </a:extLst>
          </p:cNvPr>
          <p:cNvPicPr>
            <a:picLocks noGrp="1" noChangeAspect="1" noChangeArrowheads="1"/>
          </p:cNvPicPr>
          <p:nvPr>
            <p:ph sz="half" idx="2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133" b="14961"/>
          <a:stretch/>
        </p:blipFill>
        <p:spPr bwMode="auto">
          <a:xfrm>
            <a:off x="1219516" y="2565917"/>
            <a:ext cx="4763376" cy="4041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عنصر نائب للمحتوى 3" descr="impetigo_61723.jpg">
            <a:extLst>
              <a:ext uri="{FF2B5EF4-FFF2-40B4-BE49-F238E27FC236}">
                <a16:creationId xmlns:a16="http://schemas.microsoft.com/office/drawing/2014/main" id="{996A3AF1-5A4F-FC7F-FAD5-4EF501ADC1CE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364208" y="2872164"/>
            <a:ext cx="4476760" cy="3429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629464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A80D83-B64F-422A-7147-D357BD6D00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ssure (cleft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4AF754-6710-41F6-C2D1-C9D71102D30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7010" y="1306851"/>
            <a:ext cx="10737980" cy="4870112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3200" dirty="0"/>
              <a:t>Linear crack through the epidermis that extends into the dermis</a:t>
            </a:r>
          </a:p>
        </p:txBody>
      </p:sp>
      <p:pic>
        <p:nvPicPr>
          <p:cNvPr id="12290" name="Picture 2" descr="Fissure (secondary lesion)">
            <a:extLst>
              <a:ext uri="{FF2B5EF4-FFF2-40B4-BE49-F238E27FC236}">
                <a16:creationId xmlns:a16="http://schemas.microsoft.com/office/drawing/2014/main" id="{12E2C02B-6FF0-48F9-BB9A-02F19CE4E39E}"/>
              </a:ext>
            </a:extLst>
          </p:cNvPr>
          <p:cNvPicPr>
            <a:picLocks noGrp="1" noChangeAspect="1" noChangeArrowheads="1"/>
          </p:cNvPicPr>
          <p:nvPr>
            <p:ph sz="half" idx="2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04" b="12849"/>
          <a:stretch/>
        </p:blipFill>
        <p:spPr bwMode="auto">
          <a:xfrm>
            <a:off x="3738465" y="2139799"/>
            <a:ext cx="4715070" cy="43693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4422985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93AAE-6F9A-D4FB-356F-B7AEADA0F3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lcer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01747E-22E2-F379-ABE7-22037E33305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1306851"/>
            <a:ext cx="10515599" cy="4870112"/>
          </a:xfrm>
        </p:spPr>
        <p:txBody>
          <a:bodyPr/>
          <a:lstStyle/>
          <a:p>
            <a:r>
              <a:rPr lang="en-US" dirty="0"/>
              <a:t>Rounded or irregularly shaped deeper lesions that result from loss of the epidermis and some portion of the dermis.</a:t>
            </a:r>
          </a:p>
          <a:p>
            <a:r>
              <a:rPr lang="en-US" dirty="0">
                <a:solidFill>
                  <a:srgbClr val="FF0000"/>
                </a:solidFill>
              </a:rPr>
              <a:t>Ulcers usually leave a scar.</a:t>
            </a:r>
          </a:p>
        </p:txBody>
      </p:sp>
      <p:pic>
        <p:nvPicPr>
          <p:cNvPr id="13316" name="Picture 4" descr="Ulcer">
            <a:extLst>
              <a:ext uri="{FF2B5EF4-FFF2-40B4-BE49-F238E27FC236}">
                <a16:creationId xmlns:a16="http://schemas.microsoft.com/office/drawing/2014/main" id="{ACDBCC3B-EC6C-4A96-460E-A0C3E6A6B24C}"/>
              </a:ext>
            </a:extLst>
          </p:cNvPr>
          <p:cNvPicPr>
            <a:picLocks noGrp="1" noChangeAspect="1" noChangeArrowheads="1"/>
          </p:cNvPicPr>
          <p:nvPr>
            <p:ph sz="half" idx="2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026" b="12849"/>
          <a:stretch/>
        </p:blipFill>
        <p:spPr bwMode="auto">
          <a:xfrm>
            <a:off x="1427614" y="2742634"/>
            <a:ext cx="4668384" cy="39754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عنصر نائب للمحتوى 3" descr="chancre-trypano.jpg">
            <a:extLst>
              <a:ext uri="{FF2B5EF4-FFF2-40B4-BE49-F238E27FC236}">
                <a16:creationId xmlns:a16="http://schemas.microsoft.com/office/drawing/2014/main" id="{F0C1A993-06B7-ABFC-205D-6ACE031D589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/>
          <a:srcRect l="56146" r="1817" b="9599"/>
          <a:stretch/>
        </p:blipFill>
        <p:spPr>
          <a:xfrm>
            <a:off x="6797380" y="3058412"/>
            <a:ext cx="3657891" cy="3343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01150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0B7398-7531-129D-9F90-0A873F6941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t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4CEA59-A194-A293-62CC-10E940F9E6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Aft>
                <a:spcPts val="1200"/>
              </a:spcAft>
            </a:pPr>
            <a:r>
              <a:rPr lang="en-US" dirty="0"/>
              <a:t>This is an edited copy of the old “1ry &amp; 2ry skin lesions” file done by Noor Daher </a:t>
            </a:r>
            <a:r>
              <a:rPr lang="en-US" dirty="0" err="1"/>
              <a:t>Alhijjaj</a:t>
            </a:r>
            <a:r>
              <a:rPr lang="en-US" dirty="0"/>
              <a:t> </a:t>
            </a:r>
            <a:r>
              <a:rPr lang="en-US" dirty="0">
                <a:sym typeface="Wingdings" pitchFamily="2" charset="2"/>
              </a:rPr>
              <a:t></a:t>
            </a:r>
            <a:endParaRPr lang="ar-JO" dirty="0"/>
          </a:p>
          <a:p>
            <a:pPr>
              <a:spcAft>
                <a:spcPts val="1200"/>
              </a:spcAft>
            </a:pPr>
            <a:r>
              <a:rPr lang="en-US" dirty="0"/>
              <a:t>Updates:</a:t>
            </a:r>
            <a:endParaRPr lang="ar-JO" dirty="0"/>
          </a:p>
          <a:p>
            <a:pPr lvl="1">
              <a:spcAft>
                <a:spcPts val="1200"/>
              </a:spcAft>
            </a:pPr>
            <a:r>
              <a:rPr lang="en-US" sz="2800" dirty="0"/>
              <a:t>The description of lesions are taken from Amboss</a:t>
            </a:r>
          </a:p>
          <a:p>
            <a:pPr lvl="1">
              <a:spcAft>
                <a:spcPts val="1200"/>
              </a:spcAft>
            </a:pPr>
            <a:r>
              <a:rPr lang="en-US" sz="2800" dirty="0"/>
              <a:t>Added illustrations of skin lesion from Amboss</a:t>
            </a:r>
          </a:p>
          <a:p>
            <a:pPr lvl="1">
              <a:spcAft>
                <a:spcPts val="1200"/>
              </a:spcAft>
            </a:pPr>
            <a:r>
              <a:rPr lang="en-US" sz="2800" dirty="0"/>
              <a:t>Added complex lesion and dermatopathology sections</a:t>
            </a:r>
          </a:p>
          <a:p>
            <a:pPr>
              <a:spcAft>
                <a:spcPts val="1200"/>
              </a:spcAft>
            </a:pPr>
            <a:r>
              <a:rPr lang="en-US" dirty="0"/>
              <a:t>File edited by Mahmoud Barakat </a:t>
            </a:r>
          </a:p>
        </p:txBody>
      </p:sp>
    </p:spTree>
    <p:extLst>
      <p:ext uri="{BB962C8B-B14F-4D97-AF65-F5344CB8AC3E}">
        <p14:creationId xmlns:p14="http://schemas.microsoft.com/office/powerpoint/2010/main" val="382141543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1A02DE-7FDE-0615-BCC9-C10F6D6495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ro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C368A3-401F-4D3A-C0FE-CFC709F273C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306513"/>
            <a:ext cx="10515600" cy="4870112"/>
          </a:xfrm>
        </p:spPr>
        <p:txBody>
          <a:bodyPr/>
          <a:lstStyle/>
          <a:p>
            <a:r>
              <a:rPr lang="en-US" dirty="0"/>
              <a:t>Loss of all or portions of the epidermis</a:t>
            </a:r>
          </a:p>
          <a:p>
            <a:r>
              <a:rPr lang="en-US" dirty="0">
                <a:solidFill>
                  <a:srgbClr val="FF0000"/>
                </a:solidFill>
              </a:rPr>
              <a:t>Erosions usually heal without a scar.</a:t>
            </a:r>
          </a:p>
        </p:txBody>
      </p:sp>
      <p:pic>
        <p:nvPicPr>
          <p:cNvPr id="14338" name="Picture 2" descr="Erosion (secondary lesion)">
            <a:extLst>
              <a:ext uri="{FF2B5EF4-FFF2-40B4-BE49-F238E27FC236}">
                <a16:creationId xmlns:a16="http://schemas.microsoft.com/office/drawing/2014/main" id="{65DF2DF8-83C3-9B03-54C5-2E0FCF052CC9}"/>
              </a:ext>
            </a:extLst>
          </p:cNvPr>
          <p:cNvPicPr>
            <a:picLocks noGrp="1" noChangeAspect="1" noChangeArrowheads="1"/>
          </p:cNvPicPr>
          <p:nvPr>
            <p:ph sz="half" idx="2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984" b="12843"/>
          <a:stretch/>
        </p:blipFill>
        <p:spPr bwMode="auto">
          <a:xfrm>
            <a:off x="3587620" y="2578903"/>
            <a:ext cx="5016760" cy="4144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234617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603B11-728D-ABD7-0B73-95288811E6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coriation (scratch marks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47CB94-3C42-DA31-F62E-A67A5FB4F63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1306851"/>
            <a:ext cx="10515599" cy="4870112"/>
          </a:xfrm>
        </p:spPr>
        <p:txBody>
          <a:bodyPr/>
          <a:lstStyle/>
          <a:p>
            <a:pPr marL="0" indent="0" algn="ctr">
              <a:buNone/>
            </a:pPr>
            <a:r>
              <a:rPr lang="en-US" dirty="0"/>
              <a:t>Abrasion produced by mechanical force, usually involving the epidermis (but may reach the outer layer of the dermis)</a:t>
            </a:r>
          </a:p>
        </p:txBody>
      </p:sp>
      <p:pic>
        <p:nvPicPr>
          <p:cNvPr id="15362" name="Picture 2" descr="Excoriation (secondary lesion)">
            <a:extLst>
              <a:ext uri="{FF2B5EF4-FFF2-40B4-BE49-F238E27FC236}">
                <a16:creationId xmlns:a16="http://schemas.microsoft.com/office/drawing/2014/main" id="{CEC747E4-682C-D1A6-A8A9-2ED5BAEAD9A6}"/>
              </a:ext>
            </a:extLst>
          </p:cNvPr>
          <p:cNvPicPr>
            <a:picLocks noGrp="1" noChangeAspect="1" noChangeArrowheads="1"/>
          </p:cNvPicPr>
          <p:nvPr>
            <p:ph sz="half" idx="2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919" b="15137"/>
          <a:stretch/>
        </p:blipFill>
        <p:spPr bwMode="auto">
          <a:xfrm>
            <a:off x="1116137" y="2389867"/>
            <a:ext cx="5107802" cy="4280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عنصر نائب للمحتوى 3" descr="aII1JmZnkCBH4mO8BL1uVg_m.png">
            <a:extLst>
              <a:ext uri="{FF2B5EF4-FFF2-40B4-BE49-F238E27FC236}">
                <a16:creationId xmlns:a16="http://schemas.microsoft.com/office/drawing/2014/main" id="{A81D06E0-57A3-FEA9-870A-F9840DA2D6C8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632061" y="2958376"/>
            <a:ext cx="3716184" cy="3143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216783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12ED56-DDAF-4D9B-112D-8BC9E66641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crosi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CA8364-B565-346D-CB6F-7151506D5C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1306851"/>
            <a:ext cx="10515599" cy="4870112"/>
          </a:xfrm>
        </p:spPr>
        <p:txBody>
          <a:bodyPr/>
          <a:lstStyle/>
          <a:p>
            <a:pPr marL="0" indent="0" algn="ctr">
              <a:buNone/>
            </a:pPr>
            <a:r>
              <a:rPr lang="en-US" dirty="0"/>
              <a:t>Dead skin tissue (Black or yellowish/brown)</a:t>
            </a:r>
          </a:p>
        </p:txBody>
      </p:sp>
      <p:pic>
        <p:nvPicPr>
          <p:cNvPr id="16386" name="Picture 2" descr="Necrosis (secondary lesion)">
            <a:extLst>
              <a:ext uri="{FF2B5EF4-FFF2-40B4-BE49-F238E27FC236}">
                <a16:creationId xmlns:a16="http://schemas.microsoft.com/office/drawing/2014/main" id="{15987FB3-FF89-2420-7DE0-BEFCE7E74F89}"/>
              </a:ext>
            </a:extLst>
          </p:cNvPr>
          <p:cNvPicPr>
            <a:picLocks noGrp="1" noChangeAspect="1" noChangeArrowheads="1"/>
          </p:cNvPicPr>
          <p:nvPr>
            <p:ph sz="half" idx="2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302" b="15328"/>
          <a:stretch/>
        </p:blipFill>
        <p:spPr>
          <a:xfrm>
            <a:off x="3503643" y="2379086"/>
            <a:ext cx="5184710" cy="4334252"/>
          </a:xfrm>
        </p:spPr>
      </p:pic>
    </p:spTree>
    <p:extLst>
      <p:ext uri="{BB962C8B-B14F-4D97-AF65-F5344CB8AC3E}">
        <p14:creationId xmlns:p14="http://schemas.microsoft.com/office/powerpoint/2010/main" val="69441106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6246D4-090A-D722-76DC-9FADD7F0F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kin atroph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315877-63C6-0ED2-06B6-6D009B739F9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306851"/>
            <a:ext cx="10515600" cy="4870112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3200" dirty="0"/>
              <a:t>Thinning of skin without inflammation</a:t>
            </a:r>
          </a:p>
        </p:txBody>
      </p:sp>
      <p:pic>
        <p:nvPicPr>
          <p:cNvPr id="17410" name="Picture 2" descr="Atrophy (secondary lesion)">
            <a:extLst>
              <a:ext uri="{FF2B5EF4-FFF2-40B4-BE49-F238E27FC236}">
                <a16:creationId xmlns:a16="http://schemas.microsoft.com/office/drawing/2014/main" id="{83EC1720-60A7-ED2F-6FE2-5CE3483C7D0F}"/>
              </a:ext>
            </a:extLst>
          </p:cNvPr>
          <p:cNvPicPr>
            <a:picLocks noGrp="1" noChangeAspect="1" noChangeArrowheads="1"/>
          </p:cNvPicPr>
          <p:nvPr>
            <p:ph sz="half" idx="2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065" b="18393"/>
          <a:stretch/>
        </p:blipFill>
        <p:spPr bwMode="auto">
          <a:xfrm>
            <a:off x="2943808" y="2050871"/>
            <a:ext cx="6304384" cy="4442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591744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869BF4-9D31-82BA-7DA2-EDDF3B3018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a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47CB7F-6756-97B4-5793-523959218C5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73056" y="1306851"/>
            <a:ext cx="11045888" cy="4870112"/>
          </a:xfrm>
        </p:spPr>
        <p:txBody>
          <a:bodyPr/>
          <a:lstStyle/>
          <a:p>
            <a:r>
              <a:rPr lang="en-US" dirty="0"/>
              <a:t>Composed of new connective tissue that has replaced lost substance</a:t>
            </a:r>
          </a:p>
          <a:p>
            <a:r>
              <a:rPr lang="en-US" sz="2750" dirty="0"/>
              <a:t>An overgrowth of scar tissue manifests as a keloid (thickened, raised tissue that grows beyond the borders of the scar and shows no regression).</a:t>
            </a:r>
          </a:p>
        </p:txBody>
      </p:sp>
      <p:pic>
        <p:nvPicPr>
          <p:cNvPr id="18434" name="Picture 2" descr="Scar (secondary lesion)">
            <a:extLst>
              <a:ext uri="{FF2B5EF4-FFF2-40B4-BE49-F238E27FC236}">
                <a16:creationId xmlns:a16="http://schemas.microsoft.com/office/drawing/2014/main" id="{DCC5AA24-71B4-6714-D413-9C6961185030}"/>
              </a:ext>
            </a:extLst>
          </p:cNvPr>
          <p:cNvPicPr>
            <a:picLocks noGrp="1" noChangeAspect="1" noChangeArrowheads="1"/>
          </p:cNvPicPr>
          <p:nvPr>
            <p:ph sz="half" idx="2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854" b="10921"/>
          <a:stretch/>
        </p:blipFill>
        <p:spPr bwMode="auto">
          <a:xfrm>
            <a:off x="3402559" y="2705821"/>
            <a:ext cx="5386878" cy="4040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9861746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BACEFEF3-BD7C-E3C3-AA82-488C3CE57C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62339"/>
          </a:xfrm>
        </p:spPr>
        <p:txBody>
          <a:bodyPr/>
          <a:lstStyle/>
          <a:p>
            <a:r>
              <a:rPr lang="en-US" dirty="0"/>
              <a:t>Maceration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F34DD50-12F7-66C0-E2AA-D042D484E70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306851"/>
            <a:ext cx="5181600" cy="4870112"/>
          </a:xfrm>
        </p:spPr>
        <p:txBody>
          <a:bodyPr>
            <a:normAutofit/>
          </a:bodyPr>
          <a:lstStyle/>
          <a:p>
            <a:r>
              <a:rPr lang="en-US" dirty="0"/>
              <a:t>Swelling of tissue after prolonged contact with a fluid (e.g., maceration of skin after a long bath → "washerwoman skin")</a:t>
            </a:r>
          </a:p>
        </p:txBody>
      </p:sp>
      <p:pic>
        <p:nvPicPr>
          <p:cNvPr id="7" name="عنصر نائب للمحتوى 3" descr="Maceration.png">
            <a:extLst>
              <a:ext uri="{FF2B5EF4-FFF2-40B4-BE49-F238E27FC236}">
                <a16:creationId xmlns:a16="http://schemas.microsoft.com/office/drawing/2014/main" id="{A6938DF0-13EF-567E-E2FE-D74F9363962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/>
          <a:srcRect t="18108" r="2" b="3103"/>
          <a:stretch/>
        </p:blipFill>
        <p:spPr>
          <a:xfrm>
            <a:off x="6172200" y="1306851"/>
            <a:ext cx="5181600" cy="487011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67002162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A49508-6025-90BC-66FD-8D55377360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mbilic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DC0C25-2B46-3789-2DFD-B213B3444981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 anchor="ctr">
            <a:normAutofit/>
          </a:bodyPr>
          <a:lstStyle/>
          <a:p>
            <a:r>
              <a:rPr lang="en-US" sz="3200" dirty="0"/>
              <a:t>A descriptor for lesions that have a small depression (resembling the umbilicus). </a:t>
            </a:r>
          </a:p>
          <a:p>
            <a:r>
              <a:rPr lang="en-US" sz="3200" dirty="0"/>
              <a:t>Examples include lesions of molluscum contagiosum and Penicillium marneffei infection.</a:t>
            </a:r>
          </a:p>
          <a:p>
            <a:pPr marL="0" indent="0">
              <a:buNone/>
            </a:pPr>
            <a:endParaRPr lang="en-US" sz="3200" dirty="0"/>
          </a:p>
        </p:txBody>
      </p:sp>
      <p:pic>
        <p:nvPicPr>
          <p:cNvPr id="6" name="عنصر نائب للمحتوى 3" descr="warts-human-body.jpg">
            <a:extLst>
              <a:ext uri="{FF2B5EF4-FFF2-40B4-BE49-F238E27FC236}">
                <a16:creationId xmlns:a16="http://schemas.microsoft.com/office/drawing/2014/main" id="{7E9B7C23-8A09-9CD4-F9EE-6CF408794E55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559420" y="1459307"/>
            <a:ext cx="4407160" cy="456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96578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ED1A68A8-CE4A-61B0-BB67-A660376E6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lex skin lesion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41CF649-1C51-BA37-A4B3-E2DB2EEAE82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946746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734EEF8A-813D-116F-32EA-DE7DDEF7C9C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9306244"/>
              </p:ext>
            </p:extLst>
          </p:nvPr>
        </p:nvGraphicFramePr>
        <p:xfrm>
          <a:off x="0" y="0"/>
          <a:ext cx="12192000" cy="685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411660D7-D79F-CB57-ADE4-2F555D71B589}"/>
              </a:ext>
            </a:extLst>
          </p:cNvPr>
          <p:cNvSpPr txBox="1"/>
          <p:nvPr/>
        </p:nvSpPr>
        <p:spPr>
          <a:xfrm>
            <a:off x="8257589" y="1972166"/>
            <a:ext cx="2605573" cy="132802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>
                <a:lumMod val="75000"/>
              </a:schemeClr>
            </a:solidFill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txBody>
          <a:bodyPr wrap="square">
            <a:spAutoFit/>
          </a:bodyPr>
          <a:lstStyle/>
          <a:p>
            <a:pPr algn="ctr"/>
            <a:r>
              <a:rPr lang="en-US" dirty="0"/>
              <a:t>a subtype of hematoma that does not blanch upon the application of pressure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42343424-A16C-D017-64A2-31D5E789D18D}"/>
              </a:ext>
            </a:extLst>
          </p:cNvPr>
          <p:cNvCxnSpPr>
            <a:endCxn id="6" idx="1"/>
          </p:cNvCxnSpPr>
          <p:nvPr/>
        </p:nvCxnSpPr>
        <p:spPr>
          <a:xfrm>
            <a:off x="7781731" y="2636177"/>
            <a:ext cx="475858" cy="1"/>
          </a:xfrm>
          <a:prstGeom prst="straightConnector1">
            <a:avLst/>
          </a:prstGeom>
          <a:ln w="19050"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213756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E33B69-1218-55DA-9BDA-B626B713E2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matom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2EF512-C946-17E0-3F74-0B7837C6A4E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Caused by bleeding into subcutaneous tissue, muscle, organ tissue or a cavity</a:t>
            </a:r>
          </a:p>
          <a:p>
            <a:pPr lvl="1"/>
            <a:r>
              <a:rPr lang="en-US" dirty="0"/>
              <a:t>Immediately after trauma: red</a:t>
            </a:r>
          </a:p>
          <a:p>
            <a:pPr lvl="2"/>
            <a:r>
              <a:rPr lang="en-US" sz="2400" dirty="0"/>
              <a:t>Cause: release of hemoglobin</a:t>
            </a:r>
          </a:p>
          <a:p>
            <a:pPr lvl="1"/>
            <a:r>
              <a:rPr lang="en-US" dirty="0"/>
              <a:t>After 24–96 h: dark red, green, blue, purple, black</a:t>
            </a:r>
          </a:p>
          <a:p>
            <a:pPr lvl="2"/>
            <a:r>
              <a:rPr lang="en-US" sz="2400" dirty="0"/>
              <a:t>Cause: coagulation of the blood and degradation of hemoglobin into bile pigment</a:t>
            </a:r>
          </a:p>
          <a:p>
            <a:pPr lvl="1"/>
            <a:r>
              <a:rPr lang="en-US" dirty="0"/>
              <a:t>After 4–7 days: dark green</a:t>
            </a:r>
          </a:p>
          <a:p>
            <a:pPr lvl="2"/>
            <a:r>
              <a:rPr lang="en-US" sz="2400" dirty="0"/>
              <a:t>Cause: breakdown of heme into biliverdin</a:t>
            </a:r>
          </a:p>
          <a:p>
            <a:pPr lvl="1"/>
            <a:r>
              <a:rPr lang="en-US" dirty="0"/>
              <a:t>After 7 days: yellow; brownish</a:t>
            </a:r>
          </a:p>
          <a:p>
            <a:pPr lvl="2"/>
            <a:r>
              <a:rPr lang="en-US" sz="2400" dirty="0"/>
              <a:t>Cause: breakdown of biliverdin into bilirubin</a:t>
            </a:r>
          </a:p>
        </p:txBody>
      </p:sp>
    </p:spTree>
    <p:extLst>
      <p:ext uri="{BB962C8B-B14F-4D97-AF65-F5344CB8AC3E}">
        <p14:creationId xmlns:p14="http://schemas.microsoft.com/office/powerpoint/2010/main" val="8243261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BDCB11-8484-DA90-D65A-9E7953D72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imary skin les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6A8546-FCA0-4EDA-8BEE-81EF57C3E09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041004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6D225A-30F2-F377-8951-393FFE1398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rpur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EF1FEF-7C8E-D918-7B5C-12BF6AF662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3200" b="1" dirty="0"/>
              <a:t>Purpura</a:t>
            </a:r>
            <a:r>
              <a:rPr lang="en-US" sz="3200" dirty="0"/>
              <a:t>: a subtype of hematoma that does not blanch upon the application of pressure)</a:t>
            </a:r>
          </a:p>
          <a:p>
            <a:r>
              <a:rPr lang="en-US" sz="3200" b="1" dirty="0"/>
              <a:t>Nonpalpable purpura</a:t>
            </a:r>
          </a:p>
          <a:p>
            <a:pPr lvl="1"/>
            <a:r>
              <a:rPr lang="en-US" sz="2800" b="1" dirty="0"/>
              <a:t>Petechiae</a:t>
            </a:r>
            <a:r>
              <a:rPr lang="en-US" sz="2800" dirty="0"/>
              <a:t>: Flat, red-purple, pinpoint lesions &lt; 3 mm in size</a:t>
            </a:r>
          </a:p>
          <a:p>
            <a:pPr lvl="1"/>
            <a:r>
              <a:rPr lang="en-US" sz="2800" b="1" dirty="0"/>
              <a:t>Ecchymosis</a:t>
            </a:r>
            <a:r>
              <a:rPr lang="en-US" sz="2800" dirty="0"/>
              <a:t>: Flat, red-purple, larger form of petechiae, &gt; 5 mm in size</a:t>
            </a:r>
          </a:p>
          <a:p>
            <a:r>
              <a:rPr lang="en-US" sz="3200" b="1" dirty="0"/>
              <a:t>Palpable purpura</a:t>
            </a:r>
            <a:r>
              <a:rPr lang="en-US" sz="3200" dirty="0"/>
              <a:t>: Raised, red-purple lesions</a:t>
            </a:r>
          </a:p>
        </p:txBody>
      </p:sp>
    </p:spTree>
    <p:extLst>
      <p:ext uri="{BB962C8B-B14F-4D97-AF65-F5344CB8AC3E}">
        <p14:creationId xmlns:p14="http://schemas.microsoft.com/office/powerpoint/2010/main" val="282195655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BE29D8-2B07-5693-3772-1EC9AF9703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sh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CC9C1A-FEB4-0A96-E489-8263946C6C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Aft>
                <a:spcPts val="1200"/>
              </a:spcAft>
            </a:pPr>
            <a:r>
              <a:rPr lang="en-US" b="1" dirty="0"/>
              <a:t>Exanthem</a:t>
            </a:r>
            <a:r>
              <a:rPr lang="en-US" dirty="0"/>
              <a:t>: Extended uniform rash (localized or generalized)</a:t>
            </a:r>
          </a:p>
          <a:p>
            <a:pPr>
              <a:spcAft>
                <a:spcPts val="1200"/>
              </a:spcAft>
            </a:pPr>
            <a:r>
              <a:rPr lang="en-US" b="1" dirty="0"/>
              <a:t>Enanthem</a:t>
            </a:r>
            <a:r>
              <a:rPr lang="en-US" dirty="0"/>
              <a:t>: Rash confined to the mucous membranes</a:t>
            </a:r>
          </a:p>
          <a:p>
            <a:pPr>
              <a:spcAft>
                <a:spcPts val="1200"/>
              </a:spcAft>
            </a:pPr>
            <a:r>
              <a:rPr lang="en-US" b="1" dirty="0"/>
              <a:t>Erythema</a:t>
            </a:r>
            <a:r>
              <a:rPr lang="en-US" dirty="0"/>
              <a:t>: Reddening of the skin as a result of vasodilation (blanches if pressure is applied)</a:t>
            </a:r>
          </a:p>
          <a:p>
            <a:pPr>
              <a:spcAft>
                <a:spcPts val="1200"/>
              </a:spcAft>
            </a:pPr>
            <a:r>
              <a:rPr lang="en-US" b="1" dirty="0"/>
              <a:t>Erythroderma</a:t>
            </a:r>
            <a:r>
              <a:rPr lang="en-US" dirty="0"/>
              <a:t>: Generalized reddening of the skin</a:t>
            </a:r>
          </a:p>
          <a:p>
            <a:pPr>
              <a:spcAft>
                <a:spcPts val="1200"/>
              </a:spcAft>
            </a:pPr>
            <a:r>
              <a:rPr lang="en-US" b="1" dirty="0"/>
              <a:t>Maculopapular rash</a:t>
            </a:r>
            <a:r>
              <a:rPr lang="en-US" dirty="0"/>
              <a:t>: Rash with both palpable and nonpalpable lesions ≤ 1 cm in size (e.g., seen in measles, infectious mononucleosis, secondary syphilis, fifth disease, rubella, roseola infantum)</a:t>
            </a:r>
          </a:p>
          <a:p>
            <a:pPr>
              <a:spcAft>
                <a:spcPts val="1200"/>
              </a:spcAf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65704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4F1AC1-8A06-7597-8E17-63416972F1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rther les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B85F47-CE6D-4463-04DD-17B2B745848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Lichenification</a:t>
            </a:r>
            <a:r>
              <a:rPr lang="en-US" dirty="0"/>
              <a:t>: Thickening of the skin with accentuated skin markings</a:t>
            </a:r>
          </a:p>
          <a:p>
            <a:r>
              <a:rPr lang="en-US" b="1" dirty="0"/>
              <a:t>Eczema</a:t>
            </a:r>
            <a:r>
              <a:rPr lang="en-US" dirty="0"/>
              <a:t>: Noncontagious dermatitis accompanied by pruritus, erythema, and papul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F021926-032F-CCB0-9A50-A8F0E7F6F46E}"/>
              </a:ext>
            </a:extLst>
          </p:cNvPr>
          <p:cNvGrpSpPr/>
          <p:nvPr/>
        </p:nvGrpSpPr>
        <p:grpSpPr>
          <a:xfrm>
            <a:off x="4019888" y="3429000"/>
            <a:ext cx="4152222" cy="3325086"/>
            <a:chOff x="4019888" y="3429000"/>
            <a:chExt cx="4152222" cy="3325086"/>
          </a:xfrm>
        </p:grpSpPr>
        <p:pic>
          <p:nvPicPr>
            <p:cNvPr id="4" name="عنصر نائب للمحتوى 3" descr="download (1).jpg">
              <a:extLst>
                <a:ext uri="{FF2B5EF4-FFF2-40B4-BE49-F238E27FC236}">
                  <a16:creationId xmlns:a16="http://schemas.microsoft.com/office/drawing/2014/main" id="{5EC8C82A-DA9E-A905-D67A-DFA85613535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019889" y="3429000"/>
              <a:ext cx="4152221" cy="3325086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9D709224-F9CC-1BFE-2A16-DF22BF19A613}"/>
                </a:ext>
              </a:extLst>
            </p:cNvPr>
            <p:cNvSpPr txBox="1"/>
            <p:nvPr/>
          </p:nvSpPr>
          <p:spPr>
            <a:xfrm>
              <a:off x="4019888" y="6338099"/>
              <a:ext cx="4152221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US" dirty="0"/>
                <a:t>Lichenific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3215889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64C4DC-C6C0-D467-733E-DE15BA97E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rmatopatholog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6F53BB3-2313-88E8-2C55-6E57BDD7BA0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962111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7EA574-8590-0F6D-0830-DA8D28E9DE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rmatopatholog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B15136-FA4B-1753-1988-77BA17044E6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b="1" dirty="0"/>
              <a:t>Acantholysis</a:t>
            </a:r>
            <a:r>
              <a:rPr lang="en-US" dirty="0"/>
              <a:t>: Separation of epidermal cells due to dissolution of intercellular bridges (e.g., desmosomes)</a:t>
            </a:r>
          </a:p>
          <a:p>
            <a:pPr>
              <a:lnSpc>
                <a:spcPct val="100000"/>
              </a:lnSpc>
            </a:pPr>
            <a:r>
              <a:rPr lang="en-US" b="1" dirty="0"/>
              <a:t>Acanthosis</a:t>
            </a:r>
            <a:r>
              <a:rPr lang="en-US" dirty="0"/>
              <a:t>: Epidermal hyperplasia of the stratum spinosum</a:t>
            </a:r>
          </a:p>
          <a:p>
            <a:pPr>
              <a:lnSpc>
                <a:spcPct val="100000"/>
              </a:lnSpc>
            </a:pPr>
            <a:r>
              <a:rPr lang="en-US" b="1" dirty="0"/>
              <a:t>Hypergranulosis</a:t>
            </a:r>
            <a:r>
              <a:rPr lang="en-US" dirty="0"/>
              <a:t>: Thickening of the stratum granulosum</a:t>
            </a:r>
          </a:p>
          <a:p>
            <a:pPr>
              <a:lnSpc>
                <a:spcPct val="100000"/>
              </a:lnSpc>
            </a:pPr>
            <a:r>
              <a:rPr lang="en-US" b="1" dirty="0"/>
              <a:t>Hyperkeratosis</a:t>
            </a:r>
            <a:r>
              <a:rPr lang="en-US" dirty="0"/>
              <a:t>: Thickening of the stratum corneum</a:t>
            </a:r>
          </a:p>
          <a:p>
            <a:pPr>
              <a:lnSpc>
                <a:spcPct val="100000"/>
              </a:lnSpc>
            </a:pPr>
            <a:r>
              <a:rPr lang="en-US" b="1" dirty="0"/>
              <a:t>Parakeratosis</a:t>
            </a:r>
            <a:r>
              <a:rPr lang="en-US" dirty="0"/>
              <a:t>: Retention of nuclei in the stratum corneum</a:t>
            </a:r>
          </a:p>
          <a:p>
            <a:pPr>
              <a:lnSpc>
                <a:spcPct val="100000"/>
              </a:lnSpc>
            </a:pPr>
            <a:r>
              <a:rPr lang="en-US" b="1" dirty="0"/>
              <a:t>Spongiosis</a:t>
            </a:r>
            <a:r>
              <a:rPr lang="en-US" dirty="0"/>
              <a:t>: Intraepidermal and intercellular edema</a:t>
            </a:r>
          </a:p>
          <a:p>
            <a:pPr>
              <a:lnSpc>
                <a:spcPct val="100000"/>
              </a:lnSpc>
            </a:pPr>
            <a:r>
              <a:rPr lang="en-US" b="1" dirty="0"/>
              <a:t>Dyskeratosis</a:t>
            </a:r>
            <a:r>
              <a:rPr lang="en-US" dirty="0"/>
              <a:t>: Premature keratinization of the stratum granulosum</a:t>
            </a:r>
          </a:p>
        </p:txBody>
      </p:sp>
    </p:spTree>
    <p:extLst>
      <p:ext uri="{BB962C8B-B14F-4D97-AF65-F5344CB8AC3E}">
        <p14:creationId xmlns:p14="http://schemas.microsoft.com/office/powerpoint/2010/main" val="1612298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0424940-A365-5FBF-807F-BE9991636A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62339"/>
          </a:xfrm>
        </p:spPr>
        <p:txBody>
          <a:bodyPr anchor="ctr">
            <a:normAutofit/>
          </a:bodyPr>
          <a:lstStyle/>
          <a:p>
            <a:r>
              <a:rPr lang="en-US" dirty="0"/>
              <a:t>Macu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1403B2C-DB83-3DA1-0849-BFC7E73D478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1306851"/>
            <a:ext cx="10515599" cy="487011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A flat (nonpalpable) skin lesion ≤ 1 cm in size that differs in color from surrounding skin (e.g., freckle; also seen in pityriasis versicolor, nevus </a:t>
            </a:r>
            <a:r>
              <a:rPr lang="en-US" dirty="0" err="1"/>
              <a:t>spilus</a:t>
            </a:r>
            <a:r>
              <a:rPr lang="en-US" dirty="0"/>
              <a:t>)</a:t>
            </a:r>
          </a:p>
        </p:txBody>
      </p:sp>
      <p:pic>
        <p:nvPicPr>
          <p:cNvPr id="1028" name="Picture 4" descr="Macule">
            <a:extLst>
              <a:ext uri="{FF2B5EF4-FFF2-40B4-BE49-F238E27FC236}">
                <a16:creationId xmlns:a16="http://schemas.microsoft.com/office/drawing/2014/main" id="{5FAFCFC0-0569-B22B-5AA4-6EC65D60171F}"/>
              </a:ext>
            </a:extLst>
          </p:cNvPr>
          <p:cNvPicPr>
            <a:picLocks noGrp="1" noChangeAspect="1" noChangeArrowheads="1"/>
          </p:cNvPicPr>
          <p:nvPr>
            <p:ph sz="half" idx="2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933" b="13987"/>
          <a:stretch/>
        </p:blipFill>
        <p:spPr>
          <a:xfrm>
            <a:off x="1648406" y="2459970"/>
            <a:ext cx="4606212" cy="4252050"/>
          </a:xfrm>
          <a:noFill/>
        </p:spPr>
      </p:pic>
      <p:pic>
        <p:nvPicPr>
          <p:cNvPr id="6" name="عنصر نائب للمحتوى 3" descr="macule_2.jpg">
            <a:extLst>
              <a:ext uri="{FF2B5EF4-FFF2-40B4-BE49-F238E27FC236}">
                <a16:creationId xmlns:a16="http://schemas.microsoft.com/office/drawing/2014/main" id="{587E6E38-E206-E7A3-ECAA-995DA2ECDA6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/>
          <a:srcRect l="16938" r="19184"/>
          <a:stretch/>
        </p:blipFill>
        <p:spPr>
          <a:xfrm>
            <a:off x="6571858" y="2621825"/>
            <a:ext cx="3775790" cy="3928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13187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7FCB4F-424B-DA24-1B96-26DCAE40A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62339"/>
          </a:xfrm>
        </p:spPr>
        <p:txBody>
          <a:bodyPr anchor="ctr">
            <a:normAutofit/>
          </a:bodyPr>
          <a:lstStyle/>
          <a:p>
            <a:r>
              <a:rPr lang="en-US" dirty="0"/>
              <a:t>Patch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E726B6-9305-D3DC-C231-A6561AB26C7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306851"/>
            <a:ext cx="10515600" cy="487011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A flat skin lesion &gt; 1 cm in size that differs in color from surrounding skin (e.g. congenital nevus)</a:t>
            </a:r>
          </a:p>
        </p:txBody>
      </p:sp>
      <p:pic>
        <p:nvPicPr>
          <p:cNvPr id="2050" name="Picture 2" descr="Patch (dermatology)">
            <a:extLst>
              <a:ext uri="{FF2B5EF4-FFF2-40B4-BE49-F238E27FC236}">
                <a16:creationId xmlns:a16="http://schemas.microsoft.com/office/drawing/2014/main" id="{A1EE85F2-A083-F328-FD53-CB8180C7D909}"/>
              </a:ext>
            </a:extLst>
          </p:cNvPr>
          <p:cNvPicPr>
            <a:picLocks noGrp="1" noChangeAspect="1" noChangeArrowheads="1"/>
          </p:cNvPicPr>
          <p:nvPr>
            <p:ph sz="half" idx="2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123" b="12647"/>
          <a:stretch/>
        </p:blipFill>
        <p:spPr bwMode="auto">
          <a:xfrm>
            <a:off x="1269181" y="2343539"/>
            <a:ext cx="4672938" cy="4383408"/>
          </a:xfrm>
          <a:prstGeom prst="rect">
            <a:avLst/>
          </a:prstGeom>
          <a:solidFill>
            <a:srgbClr val="FFFFFF"/>
          </a:solidFill>
        </p:spPr>
      </p:pic>
      <p:pic>
        <p:nvPicPr>
          <p:cNvPr id="5" name="عنصر نائب للمحتوى 4" descr="vitiligo_1_high.jpg">
            <a:extLst>
              <a:ext uri="{FF2B5EF4-FFF2-40B4-BE49-F238E27FC236}">
                <a16:creationId xmlns:a16="http://schemas.microsoft.com/office/drawing/2014/main" id="{11EBA4EE-34FC-FA60-6754-FE75D22F99FE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373099" y="2571149"/>
            <a:ext cx="4154153" cy="3928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18437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578059-7FB3-9F6F-666D-850FCFA025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pu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6A6DDD-6FA3-149B-CEA9-EDEFF2DADCF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1306851"/>
            <a:ext cx="10515599" cy="4870112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 small, palpable skin lesion ≤ 1 cm in diameter (e.g., seen in lichen planus, molluscum contagiosum, neurofibromatosis type 1, acne)</a:t>
            </a:r>
          </a:p>
        </p:txBody>
      </p:sp>
      <p:pic>
        <p:nvPicPr>
          <p:cNvPr id="3074" name="Picture 2" descr="Papule">
            <a:extLst>
              <a:ext uri="{FF2B5EF4-FFF2-40B4-BE49-F238E27FC236}">
                <a16:creationId xmlns:a16="http://schemas.microsoft.com/office/drawing/2014/main" id="{3DF4519B-1624-30D9-C020-0198CB2DB890}"/>
              </a:ext>
            </a:extLst>
          </p:cNvPr>
          <p:cNvPicPr>
            <a:picLocks noGrp="1" noChangeAspect="1" noChangeArrowheads="1"/>
          </p:cNvPicPr>
          <p:nvPr>
            <p:ph sz="half" idx="2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62" b="3683"/>
          <a:stretch/>
        </p:blipFill>
        <p:spPr bwMode="auto">
          <a:xfrm>
            <a:off x="996218" y="2269109"/>
            <a:ext cx="5676900" cy="4588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عنصر نائب للمحتوى 4" descr="papule1.jpg">
            <a:extLst>
              <a:ext uri="{FF2B5EF4-FFF2-40B4-BE49-F238E27FC236}">
                <a16:creationId xmlns:a16="http://schemas.microsoft.com/office/drawing/2014/main" id="{19793FDE-6B1B-9876-2EA7-6CFF4280B74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/>
          <a:srcRect t="16369" b="24922"/>
          <a:stretch/>
        </p:blipFill>
        <p:spPr>
          <a:xfrm>
            <a:off x="6831136" y="2898040"/>
            <a:ext cx="3787524" cy="3331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11578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8CAAA2-E454-FCF9-DEBB-BFC8691F8F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edo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900DE7-9AC4-42B5-0F2E-5440C5AABF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05026"/>
            <a:ext cx="5257800" cy="4871938"/>
          </a:xfrm>
        </p:spPr>
        <p:txBody>
          <a:bodyPr/>
          <a:lstStyle/>
          <a:p>
            <a:r>
              <a:rPr lang="en-US" dirty="0"/>
              <a:t>A skin-colored papule that forms when pilosebaceous ducts become blocked with keratinaceous debris and sebum (e.g., due to acne vulgaris). </a:t>
            </a:r>
          </a:p>
          <a:p>
            <a:r>
              <a:rPr lang="en-US" dirty="0"/>
              <a:t>Subtypes include closed comedones (whiteheads) and open comedones (blackheads).</a:t>
            </a:r>
          </a:p>
        </p:txBody>
      </p:sp>
      <p:pic>
        <p:nvPicPr>
          <p:cNvPr id="4" name="عنصر نائب للمحتوى 4" descr="Solar-Comedones.jpg">
            <a:extLst>
              <a:ext uri="{FF2B5EF4-FFF2-40B4-BE49-F238E27FC236}">
                <a16:creationId xmlns:a16="http://schemas.microsoft.com/office/drawing/2014/main" id="{F03BC4D2-E1CE-2AE3-37F1-43118D4E8C72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865706" y="1305026"/>
            <a:ext cx="3506568" cy="2198144"/>
          </a:xfrm>
          <a:prstGeom prst="rect">
            <a:avLst/>
          </a:prstGeom>
        </p:spPr>
      </p:pic>
      <p:pic>
        <p:nvPicPr>
          <p:cNvPr id="5" name="صورة 5" descr="Closed-Comedones.jpg">
            <a:extLst>
              <a:ext uri="{FF2B5EF4-FFF2-40B4-BE49-F238E27FC236}">
                <a16:creationId xmlns:a16="http://schemas.microsoft.com/office/drawing/2014/main" id="{92E80D51-A894-3AAE-8EC8-76F188563BFB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865706" y="3680732"/>
            <a:ext cx="3488094" cy="2320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92834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570514-B2D2-50F7-8E55-1390E3C394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aqu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3B3673-FB6F-6BDF-B52D-123342201BA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306851"/>
            <a:ext cx="10515600" cy="4870112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Palpable, usually raised lesion &gt; 1 cm (e.g., seen in pigmented BCC, pityriasis rosea, necrobiosis lipoidica, psoriasis) </a:t>
            </a:r>
          </a:p>
        </p:txBody>
      </p:sp>
      <p:pic>
        <p:nvPicPr>
          <p:cNvPr id="5122" name="Picture 2" descr="Plaque (primary lesion)">
            <a:extLst>
              <a:ext uri="{FF2B5EF4-FFF2-40B4-BE49-F238E27FC236}">
                <a16:creationId xmlns:a16="http://schemas.microsoft.com/office/drawing/2014/main" id="{132FE0EF-92BB-49D0-7F34-1BC4A572B0FA}"/>
              </a:ext>
            </a:extLst>
          </p:cNvPr>
          <p:cNvPicPr>
            <a:picLocks noGrp="1" noChangeAspect="1" noChangeArrowheads="1"/>
          </p:cNvPicPr>
          <p:nvPr>
            <p:ph sz="half" idx="2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808" b="8048"/>
          <a:stretch/>
        </p:blipFill>
        <p:spPr bwMode="auto">
          <a:xfrm>
            <a:off x="1352937" y="2309773"/>
            <a:ext cx="4883022" cy="4337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عنصر نائب للمحتوى 4" descr="download.jpg">
            <a:extLst>
              <a:ext uri="{FF2B5EF4-FFF2-40B4-BE49-F238E27FC236}">
                <a16:creationId xmlns:a16="http://schemas.microsoft.com/office/drawing/2014/main" id="{A66BB14A-D1F5-447C-25B1-E0CEF175F30E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379030" y="2862418"/>
            <a:ext cx="4572000" cy="3232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30739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9CEE9-4597-48B2-5606-40175EB228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du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9B5726-254E-E5BF-0362-C68B4243036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1306851"/>
            <a:ext cx="10515599" cy="4870112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3200" dirty="0"/>
              <a:t>An elevated lesion, &gt; 1 cm in both diameter and depth</a:t>
            </a:r>
          </a:p>
        </p:txBody>
      </p:sp>
      <p:pic>
        <p:nvPicPr>
          <p:cNvPr id="4098" name="Picture 2" descr="Nodule">
            <a:extLst>
              <a:ext uri="{FF2B5EF4-FFF2-40B4-BE49-F238E27FC236}">
                <a16:creationId xmlns:a16="http://schemas.microsoft.com/office/drawing/2014/main" id="{D247AA66-4511-3B18-200B-77FFF4FE0B5B}"/>
              </a:ext>
            </a:extLst>
          </p:cNvPr>
          <p:cNvPicPr>
            <a:picLocks noGrp="1" noChangeAspect="1" noChangeArrowheads="1"/>
          </p:cNvPicPr>
          <p:nvPr>
            <p:ph sz="half" idx="2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49" b="10348"/>
          <a:stretch/>
        </p:blipFill>
        <p:spPr bwMode="auto">
          <a:xfrm>
            <a:off x="1147856" y="1960645"/>
            <a:ext cx="5772154" cy="45322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عنصر نائب للمحتوى 3" descr="Nodule-3.jpg">
            <a:extLst>
              <a:ext uri="{FF2B5EF4-FFF2-40B4-BE49-F238E27FC236}">
                <a16:creationId xmlns:a16="http://schemas.microsoft.com/office/drawing/2014/main" id="{84A482C3-6C77-0062-C9CE-F2DB7CB4231A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229667" y="2297934"/>
            <a:ext cx="3214710" cy="3857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1685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PT_AGENDA_PRESENTATION_COLOR_TAG" val="#4472C4"/>
  <p:tag name="POWER_USER_PPT_AGENDA_PRESENTATION_DIVIDERS_CHECKED_TAG" val="0"/>
  <p:tag name="POWER_USER_PPT_AGENDA_PRESENTATION_TABLE_OF_CONTENT_CHECKED_TAG" val="1"/>
  <p:tag name="POWER_USER_PPT_AGENDA_PRESENTATION_TITLE_TEXT_TAG" val="Agenda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</p:tagLst>
</file>

<file path=ppt/theme/theme1.xml><?xml version="1.0" encoding="utf-8"?>
<a:theme xmlns:a="http://schemas.openxmlformats.org/drawingml/2006/main" name="Lagneh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agneh" id="{D93831D6-98A3-4516-BE39-66A7AFCD5203}" vid="{0EAC9C98-51A9-4C46-A3C7-4C514EC1802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Lagneh</Template>
  <TotalTime>87</TotalTime>
  <Words>940</Words>
  <Application>Microsoft Office PowerPoint</Application>
  <PresentationFormat>Widescreen</PresentationFormat>
  <Paragraphs>109</Paragraphs>
  <Slides>34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41" baseType="lpstr">
      <vt:lpstr>Arial</vt:lpstr>
      <vt:lpstr>Arial Black</vt:lpstr>
      <vt:lpstr>Calibri</vt:lpstr>
      <vt:lpstr>Calibri Light</vt:lpstr>
      <vt:lpstr>Courier New</vt:lpstr>
      <vt:lpstr>Wingdings</vt:lpstr>
      <vt:lpstr>Lagneh</vt:lpstr>
      <vt:lpstr>1ry, 2ry and complex skin lesions</vt:lpstr>
      <vt:lpstr>Notes</vt:lpstr>
      <vt:lpstr>Primary skin lesions</vt:lpstr>
      <vt:lpstr>Macule</vt:lpstr>
      <vt:lpstr>Patch </vt:lpstr>
      <vt:lpstr>Papule</vt:lpstr>
      <vt:lpstr>Comedone</vt:lpstr>
      <vt:lpstr>Plaque</vt:lpstr>
      <vt:lpstr>Nodule</vt:lpstr>
      <vt:lpstr>Wheal</vt:lpstr>
      <vt:lpstr>Vesicle </vt:lpstr>
      <vt:lpstr>Pustule</vt:lpstr>
      <vt:lpstr>Bulla</vt:lpstr>
      <vt:lpstr>Burrow</vt:lpstr>
      <vt:lpstr>Secondary skin lesions</vt:lpstr>
      <vt:lpstr>Scale </vt:lpstr>
      <vt:lpstr>Crust</vt:lpstr>
      <vt:lpstr>Fissure (cleft)</vt:lpstr>
      <vt:lpstr>Ulcer </vt:lpstr>
      <vt:lpstr>Erosion</vt:lpstr>
      <vt:lpstr>Excoriation (scratch marks)</vt:lpstr>
      <vt:lpstr>Necrosis</vt:lpstr>
      <vt:lpstr>Skin atrophy</vt:lpstr>
      <vt:lpstr>Scar</vt:lpstr>
      <vt:lpstr>Maceration</vt:lpstr>
      <vt:lpstr>Umbilication</vt:lpstr>
      <vt:lpstr>Complex skin lesions</vt:lpstr>
      <vt:lpstr>PowerPoint Presentation</vt:lpstr>
      <vt:lpstr>Hematoma</vt:lpstr>
      <vt:lpstr>Purpura</vt:lpstr>
      <vt:lpstr>Rashes</vt:lpstr>
      <vt:lpstr>Further lesions</vt:lpstr>
      <vt:lpstr>Dermatopathology</vt:lpstr>
      <vt:lpstr>Dermatopathology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inciples of dermatology</dc:title>
  <dc:creator>محمود بركات</dc:creator>
  <cp:lastModifiedBy>محمود بركات</cp:lastModifiedBy>
  <cp:revision>22</cp:revision>
  <dcterms:created xsi:type="dcterms:W3CDTF">2022-08-09T21:32:54Z</dcterms:created>
  <dcterms:modified xsi:type="dcterms:W3CDTF">2022-08-11T14:00:32Z</dcterms:modified>
</cp:coreProperties>
</file>